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257" r:id="rId5"/>
    <p:sldId id="2710" r:id="rId6"/>
    <p:sldId id="1512" r:id="rId7"/>
    <p:sldId id="2711" r:id="rId8"/>
    <p:sldId id="2714" r:id="rId9"/>
    <p:sldId id="2712" r:id="rId10"/>
    <p:sldId id="2713" r:id="rId11"/>
    <p:sldId id="918" r:id="rId12"/>
    <p:sldId id="268" r:id="rId13"/>
  </p:sldIdLst>
  <p:sldSz cx="12192000" cy="6858000"/>
  <p:notesSz cx="6858000" cy="9144000"/>
  <p:defaultTextStyle>
    <a:defPPr>
      <a:defRPr lang="nl-NL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Helvetica" panose="020B0604020202030204" pitchFamily="34" charset="0"/>
        <a:cs typeface="Helvetica" panose="020B060402020203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Helvetica" panose="020B0604020202030204" pitchFamily="34" charset="0"/>
        <a:cs typeface="Helvetica" panose="020B060402020203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Helvetica" panose="020B0604020202030204" pitchFamily="34" charset="0"/>
        <a:cs typeface="Helvetica" panose="020B060402020203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Helvetica" panose="020B0604020202030204" pitchFamily="34" charset="0"/>
        <a:cs typeface="Helvetica" panose="020B060402020203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Helvetica" panose="020B0604020202030204" pitchFamily="34" charset="0"/>
        <a:cs typeface="Helvetica" panose="020B060402020203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Helvetica" panose="020B0604020202030204" pitchFamily="34" charset="0"/>
        <a:cs typeface="Helvetica" panose="020B060402020203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Helvetica" panose="020B0604020202030204" pitchFamily="34" charset="0"/>
        <a:cs typeface="Helvetica" panose="020B060402020203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Helvetica" panose="020B0604020202030204" pitchFamily="34" charset="0"/>
        <a:cs typeface="Helvetica" panose="020B060402020203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Helvetica" panose="020B0604020202030204" pitchFamily="34" charset="0"/>
        <a:cs typeface="Helvetica" panose="020B0604020202030204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Feiten en Cijfers" id="{F787B7B1-F8E7-49EA-B8C8-755C8B706BC0}">
          <p14:sldIdLst>
            <p14:sldId id="257"/>
            <p14:sldId id="2710"/>
            <p14:sldId id="1512"/>
            <p14:sldId id="2711"/>
            <p14:sldId id="2714"/>
            <p14:sldId id="2712"/>
            <p14:sldId id="2713"/>
            <p14:sldId id="918"/>
            <p14:sldId id="26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C1266FB-970A-4B77-9C03-D41CCB5D579C}" v="411" dt="2024-09-03T15:07:20.90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ijl, gemiddeld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71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Totaal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numRef>
              <c:f>Blad1!$A$2:$A$22</c:f>
              <c:numCache>
                <c:formatCode>General</c:formatCode>
                <c:ptCount val="21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  <c:pt idx="16">
                  <c:v>2019</c:v>
                </c:pt>
                <c:pt idx="17">
                  <c:v>2020</c:v>
                </c:pt>
                <c:pt idx="18">
                  <c:v>2021</c:v>
                </c:pt>
                <c:pt idx="19">
                  <c:v>2022</c:v>
                </c:pt>
                <c:pt idx="20">
                  <c:v>2023</c:v>
                </c:pt>
              </c:numCache>
            </c:numRef>
          </c:cat>
          <c:val>
            <c:numRef>
              <c:f>Blad1!$B$2:$B$22</c:f>
              <c:numCache>
                <c:formatCode>General</c:formatCode>
                <c:ptCount val="21"/>
                <c:pt idx="0">
                  <c:v>167</c:v>
                </c:pt>
                <c:pt idx="1">
                  <c:v>138</c:v>
                </c:pt>
                <c:pt idx="2">
                  <c:v>153</c:v>
                </c:pt>
                <c:pt idx="3">
                  <c:v>166</c:v>
                </c:pt>
                <c:pt idx="4">
                  <c:v>135</c:v>
                </c:pt>
                <c:pt idx="5">
                  <c:v>143</c:v>
                </c:pt>
                <c:pt idx="6">
                  <c:v>139</c:v>
                </c:pt>
                <c:pt idx="7">
                  <c:v>148</c:v>
                </c:pt>
                <c:pt idx="8">
                  <c:v>189</c:v>
                </c:pt>
                <c:pt idx="9">
                  <c:v>180</c:v>
                </c:pt>
                <c:pt idx="10">
                  <c:v>185</c:v>
                </c:pt>
                <c:pt idx="11">
                  <c:v>157</c:v>
                </c:pt>
                <c:pt idx="12">
                  <c:v>185</c:v>
                </c:pt>
                <c:pt idx="13">
                  <c:v>175</c:v>
                </c:pt>
                <c:pt idx="14">
                  <c:v>195</c:v>
                </c:pt>
                <c:pt idx="15">
                  <c:v>222</c:v>
                </c:pt>
                <c:pt idx="16">
                  <c:v>200</c:v>
                </c:pt>
                <c:pt idx="17">
                  <c:v>199</c:v>
                </c:pt>
                <c:pt idx="18">
                  <c:v>237</c:v>
                </c:pt>
                <c:pt idx="19">
                  <c:v>241</c:v>
                </c:pt>
                <c:pt idx="20">
                  <c:v>2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16C-A94D-AE47-87A971A59684}"/>
            </c:ext>
          </c:extLst>
        </c:ser>
        <c:ser>
          <c:idx val="1"/>
          <c:order val="1"/>
          <c:tx>
            <c:strRef>
              <c:f>Blad1!$C$1</c:f>
              <c:strCache>
                <c:ptCount val="1"/>
                <c:pt idx="0">
                  <c:v>Vrouwen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Blad1!$A$2:$A$22</c:f>
              <c:numCache>
                <c:formatCode>General</c:formatCode>
                <c:ptCount val="21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  <c:pt idx="16">
                  <c:v>2019</c:v>
                </c:pt>
                <c:pt idx="17">
                  <c:v>2020</c:v>
                </c:pt>
                <c:pt idx="18">
                  <c:v>2021</c:v>
                </c:pt>
                <c:pt idx="19">
                  <c:v>2022</c:v>
                </c:pt>
                <c:pt idx="20">
                  <c:v>2023</c:v>
                </c:pt>
              </c:numCache>
            </c:numRef>
          </c:cat>
          <c:val>
            <c:numRef>
              <c:f>Blad1!$C$2:$C$22</c:f>
              <c:numCache>
                <c:formatCode>General</c:formatCode>
                <c:ptCount val="21"/>
                <c:pt idx="0">
                  <c:v>48</c:v>
                </c:pt>
                <c:pt idx="1">
                  <c:v>31</c:v>
                </c:pt>
                <c:pt idx="2">
                  <c:v>41</c:v>
                </c:pt>
                <c:pt idx="3">
                  <c:v>44</c:v>
                </c:pt>
                <c:pt idx="4">
                  <c:v>32</c:v>
                </c:pt>
                <c:pt idx="5">
                  <c:v>42</c:v>
                </c:pt>
                <c:pt idx="6">
                  <c:v>38</c:v>
                </c:pt>
                <c:pt idx="7">
                  <c:v>36</c:v>
                </c:pt>
                <c:pt idx="8">
                  <c:v>58</c:v>
                </c:pt>
                <c:pt idx="9">
                  <c:v>46</c:v>
                </c:pt>
                <c:pt idx="10">
                  <c:v>55</c:v>
                </c:pt>
                <c:pt idx="11">
                  <c:v>53</c:v>
                </c:pt>
                <c:pt idx="12">
                  <c:v>52</c:v>
                </c:pt>
                <c:pt idx="13">
                  <c:v>51</c:v>
                </c:pt>
                <c:pt idx="14">
                  <c:v>49</c:v>
                </c:pt>
                <c:pt idx="15">
                  <c:v>76</c:v>
                </c:pt>
                <c:pt idx="16">
                  <c:v>73</c:v>
                </c:pt>
                <c:pt idx="17">
                  <c:v>75</c:v>
                </c:pt>
                <c:pt idx="18">
                  <c:v>71</c:v>
                </c:pt>
                <c:pt idx="19">
                  <c:v>79</c:v>
                </c:pt>
                <c:pt idx="20">
                  <c:v>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16C-A94D-AE47-87A971A59684}"/>
            </c:ext>
          </c:extLst>
        </c:ser>
        <c:ser>
          <c:idx val="2"/>
          <c:order val="2"/>
          <c:tx>
            <c:strRef>
              <c:f>Blad1!$D$1</c:f>
              <c:strCache>
                <c:ptCount val="1"/>
                <c:pt idx="0">
                  <c:v>Mannen</c:v>
                </c:pt>
              </c:strCache>
            </c:strRef>
          </c:tx>
          <c:spPr>
            <a:ln w="28575" cap="rnd">
              <a:solidFill>
                <a:schemeClr val="accent3">
                  <a:tint val="6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Blad1!$A$2:$A$22</c:f>
              <c:numCache>
                <c:formatCode>General</c:formatCode>
                <c:ptCount val="21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  <c:pt idx="16">
                  <c:v>2019</c:v>
                </c:pt>
                <c:pt idx="17">
                  <c:v>2020</c:v>
                </c:pt>
                <c:pt idx="18">
                  <c:v>2021</c:v>
                </c:pt>
                <c:pt idx="19">
                  <c:v>2022</c:v>
                </c:pt>
                <c:pt idx="20">
                  <c:v>2023</c:v>
                </c:pt>
              </c:numCache>
            </c:numRef>
          </c:cat>
          <c:val>
            <c:numRef>
              <c:f>Blad1!$D$2:$D$22</c:f>
              <c:numCache>
                <c:formatCode>General</c:formatCode>
                <c:ptCount val="21"/>
                <c:pt idx="0">
                  <c:v>119</c:v>
                </c:pt>
                <c:pt idx="1">
                  <c:v>107</c:v>
                </c:pt>
                <c:pt idx="2">
                  <c:v>112</c:v>
                </c:pt>
                <c:pt idx="3">
                  <c:v>122</c:v>
                </c:pt>
                <c:pt idx="4">
                  <c:v>103</c:v>
                </c:pt>
                <c:pt idx="5">
                  <c:v>101</c:v>
                </c:pt>
                <c:pt idx="6">
                  <c:v>101</c:v>
                </c:pt>
                <c:pt idx="7">
                  <c:v>112</c:v>
                </c:pt>
                <c:pt idx="8">
                  <c:v>131</c:v>
                </c:pt>
                <c:pt idx="9">
                  <c:v>134</c:v>
                </c:pt>
                <c:pt idx="10">
                  <c:v>130</c:v>
                </c:pt>
                <c:pt idx="11">
                  <c:v>104</c:v>
                </c:pt>
                <c:pt idx="12">
                  <c:v>133</c:v>
                </c:pt>
                <c:pt idx="13">
                  <c:v>124</c:v>
                </c:pt>
                <c:pt idx="14">
                  <c:v>146</c:v>
                </c:pt>
                <c:pt idx="15">
                  <c:v>146</c:v>
                </c:pt>
                <c:pt idx="16">
                  <c:v>127</c:v>
                </c:pt>
                <c:pt idx="17">
                  <c:v>124</c:v>
                </c:pt>
                <c:pt idx="18">
                  <c:v>166</c:v>
                </c:pt>
                <c:pt idx="19">
                  <c:v>162</c:v>
                </c:pt>
                <c:pt idx="20">
                  <c:v>1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16C-A94D-AE47-87A971A596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40108480"/>
        <c:axId val="1539751120"/>
      </c:lineChart>
      <c:catAx>
        <c:axId val="1540108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1539751120"/>
        <c:crosses val="autoZero"/>
        <c:auto val="1"/>
        <c:lblAlgn val="ctr"/>
        <c:lblOffset val="0"/>
        <c:tickLblSkip val="2"/>
        <c:tickMarkSkip val="1"/>
        <c:noMultiLvlLbl val="0"/>
      </c:catAx>
      <c:valAx>
        <c:axId val="1539751120"/>
        <c:scaling>
          <c:orientation val="minMax"/>
          <c:max val="275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15401084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nl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l-N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7D294B9E-724A-48D6-93D5-5F707FC28E0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D27DF6B7-72D2-403E-BA95-8ABBA453215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072A313-682F-4C3B-A3E4-B463170E1C77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DBC5FE8F-0611-4D1F-9742-D2922FB18E4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F0EE3C17-5127-4CBA-BE42-3B5207E69DB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EFCEAB8-6B79-4782-A021-52E3B2D7D57B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6BF28F-11A2-46EF-85A2-340B688B33AC}" type="datetimeFigureOut">
              <a:rPr lang="nl-NL" smtClean="0"/>
              <a:t>5-9-2024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81C808-7589-4373-A924-8582E4CCE13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219971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nl-NL" sz="1200" i="1" err="1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Speakernotes</a:t>
            </a:r>
            <a:r>
              <a:rPr lang="nl-NL" sz="1200" i="1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: </a:t>
            </a:r>
          </a:p>
          <a:p>
            <a:pPr lvl="0"/>
            <a:r>
              <a:rPr lang="nl-NL" sz="1200" i="1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In gesprekken met jongvolwassenen met suïcidale gedachten komen verschillende behoeften naar voren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l-NL" sz="1200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Hulp bij praten over mentale problem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l-NL" sz="1200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Meer maatwerk op opleiding of werk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l-NL" sz="1200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Meer laagdrempelige hulp en een duidelijke route naar professionele zorg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l-NL" sz="1200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Ervaringsdeskundigheid binnen de zorg</a:t>
            </a:r>
          </a:p>
          <a:p>
            <a:endParaRPr lang="nl-NL"/>
          </a:p>
          <a:p>
            <a:pPr marL="171450" indent="-171450">
              <a:buFontTx/>
              <a:buChar char="-"/>
            </a:pPr>
            <a:r>
              <a:rPr lang="nl-NL"/>
              <a:t>doodsoorzaak #1 onder de jongeren</a:t>
            </a:r>
          </a:p>
          <a:p>
            <a:pPr marL="171450" indent="-171450">
              <a:buFontTx/>
              <a:buChar char="-"/>
            </a:pPr>
            <a:endParaRPr lang="nl-NL"/>
          </a:p>
          <a:p>
            <a:pPr marL="0" indent="0">
              <a:buFontTx/>
              <a:buNone/>
            </a:pPr>
            <a:endParaRPr lang="nl-NL"/>
          </a:p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81C808-7589-4373-A924-8582E4CCE13D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436840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nl-NL" sz="1200" i="1" err="1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Speakernotes</a:t>
            </a:r>
            <a:r>
              <a:rPr lang="nl-NL" sz="1200" i="1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: </a:t>
            </a:r>
          </a:p>
          <a:p>
            <a:pPr lvl="0"/>
            <a:r>
              <a:rPr lang="nl-NL" sz="1200" i="1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In gesprekken met jongvolwassenen met suïcidale gedachten komen verschillende behoeften naar voren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l-NL" sz="1200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Hulp bij praten over mentale problem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l-NL" sz="1200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Meer maatwerk op opleiding of werk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l-NL" sz="1200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Meer laagdrempelige hulp en een duidelijke route naar professionele zorg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l-NL" sz="1200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Ervaringsdeskundigheid binnen de zorg</a:t>
            </a:r>
          </a:p>
          <a:p>
            <a:endParaRPr lang="nl-NL"/>
          </a:p>
          <a:p>
            <a:pPr marL="171450" indent="-171450">
              <a:buFontTx/>
              <a:buChar char="-"/>
            </a:pPr>
            <a:r>
              <a:rPr lang="nl-NL"/>
              <a:t>doodsoorzaak #1 onder de jongeren</a:t>
            </a:r>
          </a:p>
          <a:p>
            <a:pPr marL="171450" indent="-171450">
              <a:buFontTx/>
              <a:buChar char="-"/>
            </a:pPr>
            <a:endParaRPr lang="nl-NL"/>
          </a:p>
          <a:p>
            <a:pPr marL="0" indent="0">
              <a:buFontTx/>
              <a:buNone/>
            </a:pPr>
            <a:endParaRPr lang="nl-NL"/>
          </a:p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81C808-7589-4373-A924-8582E4CCE13D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925374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nl-NL" sz="1200" i="1" err="1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Speakernotes</a:t>
            </a:r>
            <a:r>
              <a:rPr lang="nl-NL" sz="1200" i="1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: </a:t>
            </a:r>
          </a:p>
          <a:p>
            <a:pPr lvl="0"/>
            <a:r>
              <a:rPr lang="nl-NL" sz="1200" i="1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In gesprekken met jongvolwassenen met suïcidale gedachten komen verschillende behoeften naar voren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l-NL" sz="1200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Hulp bij praten over mentale problem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l-NL" sz="1200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Meer maatwerk op opleiding of werk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l-NL" sz="1200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Meer laagdrempelige hulp en een duidelijke route naar professionele zorg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l-NL" sz="1200">
                <a:solidFill>
                  <a:schemeClr val="tx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Ervaringsdeskundigheid binnen de zorg</a:t>
            </a:r>
          </a:p>
          <a:p>
            <a:endParaRPr lang="nl-NL"/>
          </a:p>
          <a:p>
            <a:pPr marL="171450" indent="-171450">
              <a:buFontTx/>
              <a:buChar char="-"/>
            </a:pPr>
            <a:r>
              <a:rPr lang="nl-NL"/>
              <a:t>doodsoorzaak #1 onder de jongeren</a:t>
            </a:r>
          </a:p>
          <a:p>
            <a:pPr marL="171450" indent="-171450">
              <a:buFontTx/>
              <a:buChar char="-"/>
            </a:pPr>
            <a:endParaRPr lang="nl-NL"/>
          </a:p>
          <a:p>
            <a:pPr marL="0" indent="0">
              <a:buFontTx/>
              <a:buNone/>
            </a:pPr>
            <a:endParaRPr lang="nl-NL"/>
          </a:p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81C808-7589-4373-A924-8582E4CCE13D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953943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81C808-7589-4373-A924-8582E4CCE13D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12333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7">
            <a:extLst>
              <a:ext uri="{FF2B5EF4-FFF2-40B4-BE49-F238E27FC236}">
                <a16:creationId xmlns:a16="http://schemas.microsoft.com/office/drawing/2014/main" id="{E69224FF-C3CF-4CCE-8723-29740CEA8B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76" y="5526088"/>
            <a:ext cx="2498725" cy="639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77498" y="1666876"/>
            <a:ext cx="4891783" cy="1561161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777497" y="3320111"/>
            <a:ext cx="4414435" cy="1655762"/>
          </a:xfrm>
        </p:spPr>
        <p:txBody>
          <a:bodyPr/>
          <a:lstStyle>
            <a:lvl1pPr marL="0" indent="0" algn="l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34" name="Tijdelijke aanduiding voor afbeelding 33"/>
          <p:cNvSpPr>
            <a:spLocks noGrp="1"/>
          </p:cNvSpPr>
          <p:nvPr>
            <p:ph type="pic" sz="quarter" idx="14"/>
          </p:nvPr>
        </p:nvSpPr>
        <p:spPr>
          <a:xfrm>
            <a:off x="6188365" y="657227"/>
            <a:ext cx="5403561" cy="5509271"/>
          </a:xfrm>
          <a:prstGeom prst="roundRect">
            <a:avLst>
              <a:gd name="adj" fmla="val 9174"/>
            </a:avLst>
          </a:prstGeom>
          <a:ln>
            <a:noFill/>
          </a:ln>
        </p:spPr>
        <p:txBody>
          <a:bodyPr rtlCol="0">
            <a:normAutofit/>
          </a:bodyPr>
          <a:lstStyle/>
          <a:p>
            <a:pPr lvl="0"/>
            <a:r>
              <a:rPr lang="nl-NL" noProof="0"/>
              <a:t>Klik op het pictogram als u een afbeelding wilt toevoegen</a:t>
            </a:r>
          </a:p>
        </p:txBody>
      </p:sp>
      <p:sp>
        <p:nvSpPr>
          <p:cNvPr id="38" name="Tijdelijke aanduiding voor tekst 37"/>
          <p:cNvSpPr>
            <a:spLocks noGrp="1"/>
          </p:cNvSpPr>
          <p:nvPr>
            <p:ph type="body" sz="quarter" idx="15"/>
          </p:nvPr>
        </p:nvSpPr>
        <p:spPr>
          <a:xfrm>
            <a:off x="769943" y="657225"/>
            <a:ext cx="4899337" cy="458788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" name="Tijdelijke aanduiding voor datum 3">
            <a:extLst>
              <a:ext uri="{FF2B5EF4-FFF2-40B4-BE49-F238E27FC236}">
                <a16:creationId xmlns:a16="http://schemas.microsoft.com/office/drawing/2014/main" id="{2393F1C0-6D68-4E12-8877-707C299498C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782D52-5218-417B-AA65-FA3D84096F88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8" name="Tijdelijke aanduiding voor voettekst 4">
            <a:extLst>
              <a:ext uri="{FF2B5EF4-FFF2-40B4-BE49-F238E27FC236}">
                <a16:creationId xmlns:a16="http://schemas.microsoft.com/office/drawing/2014/main" id="{608EA04E-F882-484A-BF7D-DAECA4C893C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9" name="Tijdelijke aanduiding voor dianummer 5">
            <a:extLst>
              <a:ext uri="{FF2B5EF4-FFF2-40B4-BE49-F238E27FC236}">
                <a16:creationId xmlns:a16="http://schemas.microsoft.com/office/drawing/2014/main" id="{52A88415-C326-47B7-9476-A3540963777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581922-7D48-4E90-A52B-91A5188025C1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FA010D3D-F383-4DAF-A469-131812AB7C7F}"/>
              </a:ext>
            </a:extLst>
          </p:cNvPr>
          <p:cNvSpPr/>
          <p:nvPr userDrawn="1"/>
        </p:nvSpPr>
        <p:spPr>
          <a:xfrm>
            <a:off x="11591925" y="6356352"/>
            <a:ext cx="450259" cy="3651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211536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en tekstvlak met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: afgeronde hoeken 4">
            <a:extLst>
              <a:ext uri="{FF2B5EF4-FFF2-40B4-BE49-F238E27FC236}">
                <a16:creationId xmlns:a16="http://schemas.microsoft.com/office/drawing/2014/main" id="{DF96B0DA-E2C4-40CF-B791-970E90E68545}"/>
              </a:ext>
            </a:extLst>
          </p:cNvPr>
          <p:cNvSpPr/>
          <p:nvPr/>
        </p:nvSpPr>
        <p:spPr>
          <a:xfrm>
            <a:off x="600076" y="365125"/>
            <a:ext cx="5419725" cy="5924550"/>
          </a:xfrm>
          <a:prstGeom prst="roundRect">
            <a:avLst>
              <a:gd name="adj" fmla="val 11523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67000" y="676277"/>
            <a:ext cx="4571999" cy="101441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15" name="Tijdelijke aanduiding voor inhoud 14"/>
          <p:cNvSpPr>
            <a:spLocks noGrp="1"/>
          </p:cNvSpPr>
          <p:nvPr>
            <p:ph sz="quarter" idx="16"/>
          </p:nvPr>
        </p:nvSpPr>
        <p:spPr>
          <a:xfrm>
            <a:off x="6335713" y="495300"/>
            <a:ext cx="5186363" cy="54483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datum 4">
            <a:extLst>
              <a:ext uri="{FF2B5EF4-FFF2-40B4-BE49-F238E27FC236}">
                <a16:creationId xmlns:a16="http://schemas.microsoft.com/office/drawing/2014/main" id="{A6182449-88A4-4B93-B951-A475007269E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46EE31-0477-40ED-845B-30600AD098B0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7" name="Tijdelijke aanduiding voor voettekst 5">
            <a:extLst>
              <a:ext uri="{FF2B5EF4-FFF2-40B4-BE49-F238E27FC236}">
                <a16:creationId xmlns:a16="http://schemas.microsoft.com/office/drawing/2014/main" id="{6A49C2AC-0522-4F85-880A-FA227E8ABF3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6">
            <a:extLst>
              <a:ext uri="{FF2B5EF4-FFF2-40B4-BE49-F238E27FC236}">
                <a16:creationId xmlns:a16="http://schemas.microsoft.com/office/drawing/2014/main" id="{9C3555FA-E808-490D-81BF-619C87F6799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794CF6-5502-4A26-A212-E29BA3B3737B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10" name="Tijdelijke aanduiding voor tekst 3">
            <a:extLst>
              <a:ext uri="{FF2B5EF4-FFF2-40B4-BE49-F238E27FC236}">
                <a16:creationId xmlns:a16="http://schemas.microsoft.com/office/drawing/2014/main" id="{BDE60FD8-6DFA-457D-8652-3F1F6EC5084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66999" y="1825626"/>
            <a:ext cx="4571999" cy="411797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33694267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chtrood tekstvlak met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: afgeronde hoeken 4">
            <a:extLst>
              <a:ext uri="{FF2B5EF4-FFF2-40B4-BE49-F238E27FC236}">
                <a16:creationId xmlns:a16="http://schemas.microsoft.com/office/drawing/2014/main" id="{EC5F3244-F065-4D26-9A8D-7FAE55A76F2B}"/>
              </a:ext>
            </a:extLst>
          </p:cNvPr>
          <p:cNvSpPr/>
          <p:nvPr/>
        </p:nvSpPr>
        <p:spPr>
          <a:xfrm>
            <a:off x="600076" y="365125"/>
            <a:ext cx="5419725" cy="5924550"/>
          </a:xfrm>
          <a:prstGeom prst="roundRect">
            <a:avLst>
              <a:gd name="adj" fmla="val 11523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94991" y="676277"/>
            <a:ext cx="4562671" cy="101441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15" name="Tijdelijke aanduiding voor inhoud 14"/>
          <p:cNvSpPr>
            <a:spLocks noGrp="1"/>
          </p:cNvSpPr>
          <p:nvPr>
            <p:ph sz="quarter" idx="16"/>
          </p:nvPr>
        </p:nvSpPr>
        <p:spPr>
          <a:xfrm>
            <a:off x="6335713" y="495300"/>
            <a:ext cx="5186363" cy="54483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datum 4">
            <a:extLst>
              <a:ext uri="{FF2B5EF4-FFF2-40B4-BE49-F238E27FC236}">
                <a16:creationId xmlns:a16="http://schemas.microsoft.com/office/drawing/2014/main" id="{38155526-16E6-44F3-831D-606A3A82AF5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CC03D5-8B3C-4A2B-A17C-90F58BE8A8D4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7" name="Tijdelijke aanduiding voor voettekst 5">
            <a:extLst>
              <a:ext uri="{FF2B5EF4-FFF2-40B4-BE49-F238E27FC236}">
                <a16:creationId xmlns:a16="http://schemas.microsoft.com/office/drawing/2014/main" id="{1135D280-6FFA-4363-8A26-B5868536ACF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6">
            <a:extLst>
              <a:ext uri="{FF2B5EF4-FFF2-40B4-BE49-F238E27FC236}">
                <a16:creationId xmlns:a16="http://schemas.microsoft.com/office/drawing/2014/main" id="{A832EB51-EF16-440E-AC0A-EFFFB9FA4D1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9F8ED1-7396-477E-851A-58AC920FD04A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10" name="Tijdelijke aanduiding voor tekst 3">
            <a:extLst>
              <a:ext uri="{FF2B5EF4-FFF2-40B4-BE49-F238E27FC236}">
                <a16:creationId xmlns:a16="http://schemas.microsoft.com/office/drawing/2014/main" id="{2DAF36FD-B503-4349-8C4A-62BE4F5DC8B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66999" y="1825626"/>
            <a:ext cx="4571999" cy="411797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30772324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od tekstvlak met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: afgeronde hoeken 4">
            <a:extLst>
              <a:ext uri="{FF2B5EF4-FFF2-40B4-BE49-F238E27FC236}">
                <a16:creationId xmlns:a16="http://schemas.microsoft.com/office/drawing/2014/main" id="{836CA675-CDEA-423A-AFD8-7E198D66DB7C}"/>
              </a:ext>
            </a:extLst>
          </p:cNvPr>
          <p:cNvSpPr/>
          <p:nvPr/>
        </p:nvSpPr>
        <p:spPr>
          <a:xfrm>
            <a:off x="600076" y="365125"/>
            <a:ext cx="5419725" cy="5924550"/>
          </a:xfrm>
          <a:prstGeom prst="roundRect">
            <a:avLst>
              <a:gd name="adj" fmla="val 11523"/>
            </a:avLst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76332" y="676277"/>
            <a:ext cx="4488025" cy="101441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15" name="Tijdelijke aanduiding voor inhoud 14"/>
          <p:cNvSpPr>
            <a:spLocks noGrp="1"/>
          </p:cNvSpPr>
          <p:nvPr>
            <p:ph sz="quarter" idx="16"/>
          </p:nvPr>
        </p:nvSpPr>
        <p:spPr>
          <a:xfrm>
            <a:off x="6335713" y="495300"/>
            <a:ext cx="5186363" cy="54483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datum 4">
            <a:extLst>
              <a:ext uri="{FF2B5EF4-FFF2-40B4-BE49-F238E27FC236}">
                <a16:creationId xmlns:a16="http://schemas.microsoft.com/office/drawing/2014/main" id="{BB85AFFD-D41A-49FA-86DC-6EDD5C484A1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B62694-B55D-4339-9DB7-812A3B633813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7" name="Tijdelijke aanduiding voor voettekst 5">
            <a:extLst>
              <a:ext uri="{FF2B5EF4-FFF2-40B4-BE49-F238E27FC236}">
                <a16:creationId xmlns:a16="http://schemas.microsoft.com/office/drawing/2014/main" id="{03278ABA-C8BE-48FB-96BB-40E387510A8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6">
            <a:extLst>
              <a:ext uri="{FF2B5EF4-FFF2-40B4-BE49-F238E27FC236}">
                <a16:creationId xmlns:a16="http://schemas.microsoft.com/office/drawing/2014/main" id="{8AE31105-0DD4-43E9-B501-4E311678016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4C5174-E14A-4A4B-A865-4715019BBE45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10" name="Tijdelijke aanduiding voor tekst 3">
            <a:extLst>
              <a:ext uri="{FF2B5EF4-FFF2-40B4-BE49-F238E27FC236}">
                <a16:creationId xmlns:a16="http://schemas.microsoft.com/office/drawing/2014/main" id="{DACB66DA-55E7-4278-9089-4C8B8183447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66999" y="1825626"/>
            <a:ext cx="4571999" cy="41179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9474438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el vlak m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: afgeronde hoeken 3">
            <a:extLst>
              <a:ext uri="{FF2B5EF4-FFF2-40B4-BE49-F238E27FC236}">
                <a16:creationId xmlns:a16="http://schemas.microsoft.com/office/drawing/2014/main" id="{1789BA12-667E-45D5-B586-ABC5911B0551}"/>
              </a:ext>
            </a:extLst>
          </p:cNvPr>
          <p:cNvSpPr/>
          <p:nvPr/>
        </p:nvSpPr>
        <p:spPr>
          <a:xfrm>
            <a:off x="600075" y="365125"/>
            <a:ext cx="10991851" cy="5924550"/>
          </a:xfrm>
          <a:prstGeom prst="roundRect">
            <a:avLst>
              <a:gd name="adj" fmla="val 1152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53612" y="676277"/>
            <a:ext cx="9452488" cy="101441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4B40846A-4572-4970-9A78-1105BB3D77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969E78-3647-485E-895D-94ECBCFB92DD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6E019537-B808-48B8-87C9-DAD4577D33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77A5FD47-FF80-4972-9F8D-4769D64E2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ECC3CE-4713-4776-89BB-084F823C6474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8" name="Tijdelijke aanduiding voor tekst 3">
            <a:extLst>
              <a:ext uri="{FF2B5EF4-FFF2-40B4-BE49-F238E27FC236}">
                <a16:creationId xmlns:a16="http://schemas.microsoft.com/office/drawing/2014/main" id="{E950906F-A590-43D0-A970-D0E9D2E1FB2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253612" y="1825626"/>
            <a:ext cx="9452488" cy="411797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38219033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en vlak m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: afgeronde hoeken 3">
            <a:extLst>
              <a:ext uri="{FF2B5EF4-FFF2-40B4-BE49-F238E27FC236}">
                <a16:creationId xmlns:a16="http://schemas.microsoft.com/office/drawing/2014/main" id="{1789BA12-667E-45D5-B586-ABC5911B0551}"/>
              </a:ext>
            </a:extLst>
          </p:cNvPr>
          <p:cNvSpPr/>
          <p:nvPr/>
        </p:nvSpPr>
        <p:spPr>
          <a:xfrm>
            <a:off x="600075" y="365125"/>
            <a:ext cx="10991851" cy="5924550"/>
          </a:xfrm>
          <a:prstGeom prst="roundRect">
            <a:avLst>
              <a:gd name="adj" fmla="val 11523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53612" y="676277"/>
            <a:ext cx="9452488" cy="101441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4B40846A-4572-4970-9A78-1105BB3D77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969E78-3647-485E-895D-94ECBCFB92DD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6E019537-B808-48B8-87C9-DAD4577D33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77A5FD47-FF80-4972-9F8D-4769D64E2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ECC3CE-4713-4776-89BB-084F823C6474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9" name="Tijdelijke aanduiding voor tekst 3">
            <a:extLst>
              <a:ext uri="{FF2B5EF4-FFF2-40B4-BE49-F238E27FC236}">
                <a16:creationId xmlns:a16="http://schemas.microsoft.com/office/drawing/2014/main" id="{E9D4ADF1-5741-4DF3-8CB9-5868C1FDA82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253612" y="1825626"/>
            <a:ext cx="9452488" cy="411797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7402281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chtrood vlak m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: afgeronde hoeken 3">
            <a:extLst>
              <a:ext uri="{FF2B5EF4-FFF2-40B4-BE49-F238E27FC236}">
                <a16:creationId xmlns:a16="http://schemas.microsoft.com/office/drawing/2014/main" id="{D6279071-2F21-4CE9-BF4F-CEA9DCD659DF}"/>
              </a:ext>
            </a:extLst>
          </p:cNvPr>
          <p:cNvSpPr/>
          <p:nvPr/>
        </p:nvSpPr>
        <p:spPr>
          <a:xfrm>
            <a:off x="600075" y="365125"/>
            <a:ext cx="10991851" cy="5924550"/>
          </a:xfrm>
          <a:prstGeom prst="roundRect">
            <a:avLst>
              <a:gd name="adj" fmla="val 11523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53612" y="676277"/>
            <a:ext cx="9452488" cy="101441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6E35AA06-28C7-408B-A812-47C20C2864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ECE3B5-4864-42FA-8084-690B8AFA0334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1165E23-9533-4B57-B7AA-DAAFE1CC02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5AA8F935-9408-4168-8352-93D9A10486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A9E0E1-09EC-4CD9-BC4E-FF9BF3EF8E96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8" name="Tijdelijke aanduiding voor tekst 3">
            <a:extLst>
              <a:ext uri="{FF2B5EF4-FFF2-40B4-BE49-F238E27FC236}">
                <a16:creationId xmlns:a16="http://schemas.microsoft.com/office/drawing/2014/main" id="{4D81C186-C86C-4D7B-BD03-D228423E060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253612" y="1825626"/>
            <a:ext cx="9452488" cy="411797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23970520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od vlak m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: afgeronde hoeken 3">
            <a:extLst>
              <a:ext uri="{FF2B5EF4-FFF2-40B4-BE49-F238E27FC236}">
                <a16:creationId xmlns:a16="http://schemas.microsoft.com/office/drawing/2014/main" id="{F617C389-A35F-4F85-A306-D937F31727A6}"/>
              </a:ext>
            </a:extLst>
          </p:cNvPr>
          <p:cNvSpPr/>
          <p:nvPr/>
        </p:nvSpPr>
        <p:spPr>
          <a:xfrm>
            <a:off x="600075" y="365125"/>
            <a:ext cx="10991851" cy="5924550"/>
          </a:xfrm>
          <a:prstGeom prst="roundRect">
            <a:avLst>
              <a:gd name="adj" fmla="val 11523"/>
            </a:avLst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53612" y="676277"/>
            <a:ext cx="9452488" cy="101441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1FFA2940-DEDB-4D7C-9139-A860A66F11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094184-CD78-4CC4-8AB3-E2228BFEA2A8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FF0FBE8-92EB-4648-8A28-216E3F25B8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957FB9CE-9B3C-41D2-AA61-133517796F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A00C3A-38B5-4667-8F49-16C31BFAE8BA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8" name="Tijdelijke aanduiding voor tekst 3">
            <a:extLst>
              <a:ext uri="{FF2B5EF4-FFF2-40B4-BE49-F238E27FC236}">
                <a16:creationId xmlns:a16="http://schemas.microsoft.com/office/drawing/2014/main" id="{A9CDEDE4-B766-434D-9EB1-751FF010541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253612" y="1825626"/>
            <a:ext cx="9452488" cy="41179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22657173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el tekstvlak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: afgeronde bovenhoeken 4">
            <a:extLst>
              <a:ext uri="{FF2B5EF4-FFF2-40B4-BE49-F238E27FC236}">
                <a16:creationId xmlns:a16="http://schemas.microsoft.com/office/drawing/2014/main" id="{501F2A46-FA4E-4654-9357-B10745428960}"/>
              </a:ext>
            </a:extLst>
          </p:cNvPr>
          <p:cNvSpPr/>
          <p:nvPr/>
        </p:nvSpPr>
        <p:spPr>
          <a:xfrm rot="16200000">
            <a:off x="347662" y="617538"/>
            <a:ext cx="5924550" cy="5419725"/>
          </a:xfrm>
          <a:prstGeom prst="round2SameRect">
            <a:avLst>
              <a:gd name="adj1" fmla="val 12902"/>
              <a:gd name="adj2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53613" y="676277"/>
            <a:ext cx="4279025" cy="101441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11" name="Tijdelijke aanduiding voor afbeelding 33"/>
          <p:cNvSpPr>
            <a:spLocks noGrp="1"/>
          </p:cNvSpPr>
          <p:nvPr>
            <p:ph type="pic" sz="quarter" idx="14"/>
          </p:nvPr>
        </p:nvSpPr>
        <p:spPr>
          <a:xfrm>
            <a:off x="6019801" y="365121"/>
            <a:ext cx="5572433" cy="5925064"/>
          </a:xfrm>
          <a:custGeom>
            <a:avLst/>
            <a:gdLst>
              <a:gd name="connsiteX0" fmla="*/ 0 w 6059595"/>
              <a:gd name="connsiteY0" fmla="*/ 543565 h 5925064"/>
              <a:gd name="connsiteX1" fmla="*/ 543565 w 6059595"/>
              <a:gd name="connsiteY1" fmla="*/ 0 h 5925064"/>
              <a:gd name="connsiteX2" fmla="*/ 5516030 w 6059595"/>
              <a:gd name="connsiteY2" fmla="*/ 0 h 5925064"/>
              <a:gd name="connsiteX3" fmla="*/ 6059595 w 6059595"/>
              <a:gd name="connsiteY3" fmla="*/ 543565 h 5925064"/>
              <a:gd name="connsiteX4" fmla="*/ 6059595 w 6059595"/>
              <a:gd name="connsiteY4" fmla="*/ 5381499 h 5925064"/>
              <a:gd name="connsiteX5" fmla="*/ 5516030 w 6059595"/>
              <a:gd name="connsiteY5" fmla="*/ 5925064 h 5925064"/>
              <a:gd name="connsiteX6" fmla="*/ 543565 w 6059595"/>
              <a:gd name="connsiteY6" fmla="*/ 5925064 h 5925064"/>
              <a:gd name="connsiteX7" fmla="*/ 0 w 6059595"/>
              <a:gd name="connsiteY7" fmla="*/ 5381499 h 5925064"/>
              <a:gd name="connsiteX8" fmla="*/ 0 w 6059595"/>
              <a:gd name="connsiteY8" fmla="*/ 543565 h 5925064"/>
              <a:gd name="connsiteX0" fmla="*/ 0 w 6059595"/>
              <a:gd name="connsiteY0" fmla="*/ 5381499 h 5925064"/>
              <a:gd name="connsiteX1" fmla="*/ 543565 w 6059595"/>
              <a:gd name="connsiteY1" fmla="*/ 0 h 5925064"/>
              <a:gd name="connsiteX2" fmla="*/ 5516030 w 6059595"/>
              <a:gd name="connsiteY2" fmla="*/ 0 h 5925064"/>
              <a:gd name="connsiteX3" fmla="*/ 6059595 w 6059595"/>
              <a:gd name="connsiteY3" fmla="*/ 543565 h 5925064"/>
              <a:gd name="connsiteX4" fmla="*/ 6059595 w 6059595"/>
              <a:gd name="connsiteY4" fmla="*/ 5381499 h 5925064"/>
              <a:gd name="connsiteX5" fmla="*/ 5516030 w 6059595"/>
              <a:gd name="connsiteY5" fmla="*/ 5925064 h 5925064"/>
              <a:gd name="connsiteX6" fmla="*/ 543565 w 6059595"/>
              <a:gd name="connsiteY6" fmla="*/ 5925064 h 5925064"/>
              <a:gd name="connsiteX7" fmla="*/ 0 w 6059595"/>
              <a:gd name="connsiteY7" fmla="*/ 5381499 h 5925064"/>
              <a:gd name="connsiteX0" fmla="*/ 621558 w 6137588"/>
              <a:gd name="connsiteY0" fmla="*/ 5925064 h 5925064"/>
              <a:gd name="connsiteX1" fmla="*/ 621558 w 6137588"/>
              <a:gd name="connsiteY1" fmla="*/ 0 h 5925064"/>
              <a:gd name="connsiteX2" fmla="*/ 5594023 w 6137588"/>
              <a:gd name="connsiteY2" fmla="*/ 0 h 5925064"/>
              <a:gd name="connsiteX3" fmla="*/ 6137588 w 6137588"/>
              <a:gd name="connsiteY3" fmla="*/ 543565 h 5925064"/>
              <a:gd name="connsiteX4" fmla="*/ 6137588 w 6137588"/>
              <a:gd name="connsiteY4" fmla="*/ 5381499 h 5925064"/>
              <a:gd name="connsiteX5" fmla="*/ 5594023 w 6137588"/>
              <a:gd name="connsiteY5" fmla="*/ 5925064 h 5925064"/>
              <a:gd name="connsiteX6" fmla="*/ 621558 w 6137588"/>
              <a:gd name="connsiteY6" fmla="*/ 5925064 h 5925064"/>
              <a:gd name="connsiteX0" fmla="*/ 621558 w 6137588"/>
              <a:gd name="connsiteY0" fmla="*/ 5925064 h 5925064"/>
              <a:gd name="connsiteX1" fmla="*/ 621558 w 6137588"/>
              <a:gd name="connsiteY1" fmla="*/ 0 h 5925064"/>
              <a:gd name="connsiteX2" fmla="*/ 5594023 w 6137588"/>
              <a:gd name="connsiteY2" fmla="*/ 0 h 5925064"/>
              <a:gd name="connsiteX3" fmla="*/ 6137588 w 6137588"/>
              <a:gd name="connsiteY3" fmla="*/ 543565 h 5925064"/>
              <a:gd name="connsiteX4" fmla="*/ 6137588 w 6137588"/>
              <a:gd name="connsiteY4" fmla="*/ 5381499 h 5925064"/>
              <a:gd name="connsiteX5" fmla="*/ 5594023 w 6137588"/>
              <a:gd name="connsiteY5" fmla="*/ 5925064 h 5925064"/>
              <a:gd name="connsiteX6" fmla="*/ 621558 w 6137588"/>
              <a:gd name="connsiteY6" fmla="*/ 5925064 h 5925064"/>
              <a:gd name="connsiteX0" fmla="*/ 368331 w 5884361"/>
              <a:gd name="connsiteY0" fmla="*/ 5925064 h 5925064"/>
              <a:gd name="connsiteX1" fmla="*/ 368331 w 5884361"/>
              <a:gd name="connsiteY1" fmla="*/ 0 h 5925064"/>
              <a:gd name="connsiteX2" fmla="*/ 5340796 w 5884361"/>
              <a:gd name="connsiteY2" fmla="*/ 0 h 5925064"/>
              <a:gd name="connsiteX3" fmla="*/ 5884361 w 5884361"/>
              <a:gd name="connsiteY3" fmla="*/ 543565 h 5925064"/>
              <a:gd name="connsiteX4" fmla="*/ 5884361 w 5884361"/>
              <a:gd name="connsiteY4" fmla="*/ 5381499 h 5925064"/>
              <a:gd name="connsiteX5" fmla="*/ 5340796 w 5884361"/>
              <a:gd name="connsiteY5" fmla="*/ 5925064 h 5925064"/>
              <a:gd name="connsiteX6" fmla="*/ 368331 w 5884361"/>
              <a:gd name="connsiteY6" fmla="*/ 5925064 h 5925064"/>
              <a:gd name="connsiteX0" fmla="*/ 0 w 5516030"/>
              <a:gd name="connsiteY0" fmla="*/ 5925064 h 5925064"/>
              <a:gd name="connsiteX1" fmla="*/ 0 w 5516030"/>
              <a:gd name="connsiteY1" fmla="*/ 0 h 5925064"/>
              <a:gd name="connsiteX2" fmla="*/ 4972465 w 5516030"/>
              <a:gd name="connsiteY2" fmla="*/ 0 h 5925064"/>
              <a:gd name="connsiteX3" fmla="*/ 5516030 w 5516030"/>
              <a:gd name="connsiteY3" fmla="*/ 543565 h 5925064"/>
              <a:gd name="connsiteX4" fmla="*/ 5516030 w 5516030"/>
              <a:gd name="connsiteY4" fmla="*/ 5381499 h 5925064"/>
              <a:gd name="connsiteX5" fmla="*/ 4972465 w 5516030"/>
              <a:gd name="connsiteY5" fmla="*/ 5925064 h 5925064"/>
              <a:gd name="connsiteX6" fmla="*/ 0 w 5516030"/>
              <a:gd name="connsiteY6" fmla="*/ 5925064 h 5925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16030" h="5925064">
                <a:moveTo>
                  <a:pt x="0" y="5925064"/>
                </a:moveTo>
                <a:lnTo>
                  <a:pt x="0" y="0"/>
                </a:lnTo>
                <a:lnTo>
                  <a:pt x="4972465" y="0"/>
                </a:lnTo>
                <a:cubicBezTo>
                  <a:pt x="5272668" y="0"/>
                  <a:pt x="5516030" y="243362"/>
                  <a:pt x="5516030" y="543565"/>
                </a:cubicBezTo>
                <a:lnTo>
                  <a:pt x="5516030" y="5381499"/>
                </a:lnTo>
                <a:cubicBezTo>
                  <a:pt x="5516030" y="5681702"/>
                  <a:pt x="5272668" y="5925064"/>
                  <a:pt x="4972465" y="5925064"/>
                </a:cubicBezTo>
                <a:lnTo>
                  <a:pt x="0" y="5925064"/>
                </a:lnTo>
                <a:close/>
              </a:path>
            </a:pathLst>
          </a:custGeom>
          <a:ln>
            <a:noFill/>
          </a:ln>
        </p:spPr>
        <p:txBody>
          <a:bodyPr rtlCol="0">
            <a:normAutofit/>
          </a:bodyPr>
          <a:lstStyle/>
          <a:p>
            <a:pPr lvl="0"/>
            <a:r>
              <a:rPr lang="nl-NL" noProof="0"/>
              <a:t>Klik op het pictogram als u een afbeelding wilt toevoegen</a:t>
            </a:r>
          </a:p>
        </p:txBody>
      </p:sp>
      <p:sp>
        <p:nvSpPr>
          <p:cNvPr id="6" name="Tijdelijke aanduiding voor datum 4">
            <a:extLst>
              <a:ext uri="{FF2B5EF4-FFF2-40B4-BE49-F238E27FC236}">
                <a16:creationId xmlns:a16="http://schemas.microsoft.com/office/drawing/2014/main" id="{4132CA37-0995-471B-96C7-6F048624649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4FF574-8869-48ED-84DD-C4EAF02B2F1A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7" name="Tijdelijke aanduiding voor voettekst 5">
            <a:extLst>
              <a:ext uri="{FF2B5EF4-FFF2-40B4-BE49-F238E27FC236}">
                <a16:creationId xmlns:a16="http://schemas.microsoft.com/office/drawing/2014/main" id="{A4A8DA22-F739-4AC4-AB06-0E2A1424431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6">
            <a:extLst>
              <a:ext uri="{FF2B5EF4-FFF2-40B4-BE49-F238E27FC236}">
                <a16:creationId xmlns:a16="http://schemas.microsoft.com/office/drawing/2014/main" id="{E88B86B8-1E03-4119-9C63-59996370EE8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0DC28C-59BD-48DB-9705-2908C7CC7E1F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10" name="Tijdelijke aanduiding voor tekst 3">
            <a:extLst>
              <a:ext uri="{FF2B5EF4-FFF2-40B4-BE49-F238E27FC236}">
                <a16:creationId xmlns:a16="http://schemas.microsoft.com/office/drawing/2014/main" id="{F70B147E-3BC5-4132-8CA3-536EFF1CBFC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253613" y="1825626"/>
            <a:ext cx="4279025" cy="41179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23790183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en tekstvlak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: afgeronde bovenhoeken 4">
            <a:extLst>
              <a:ext uri="{FF2B5EF4-FFF2-40B4-BE49-F238E27FC236}">
                <a16:creationId xmlns:a16="http://schemas.microsoft.com/office/drawing/2014/main" id="{EF4792C9-05DE-4C01-8735-92BB7443F632}"/>
              </a:ext>
            </a:extLst>
          </p:cNvPr>
          <p:cNvSpPr/>
          <p:nvPr/>
        </p:nvSpPr>
        <p:spPr>
          <a:xfrm rot="16200000">
            <a:off x="347662" y="617538"/>
            <a:ext cx="5924550" cy="5419725"/>
          </a:xfrm>
          <a:prstGeom prst="round2SameRect">
            <a:avLst>
              <a:gd name="adj1" fmla="val 12902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53613" y="676277"/>
            <a:ext cx="4279025" cy="101441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11" name="Tijdelijke aanduiding voor afbeelding 33"/>
          <p:cNvSpPr>
            <a:spLocks noGrp="1"/>
          </p:cNvSpPr>
          <p:nvPr>
            <p:ph type="pic" sz="quarter" idx="14"/>
          </p:nvPr>
        </p:nvSpPr>
        <p:spPr>
          <a:xfrm>
            <a:off x="6019801" y="365121"/>
            <a:ext cx="5572433" cy="5925064"/>
          </a:xfrm>
          <a:custGeom>
            <a:avLst/>
            <a:gdLst>
              <a:gd name="connsiteX0" fmla="*/ 0 w 6059595"/>
              <a:gd name="connsiteY0" fmla="*/ 543565 h 5925064"/>
              <a:gd name="connsiteX1" fmla="*/ 543565 w 6059595"/>
              <a:gd name="connsiteY1" fmla="*/ 0 h 5925064"/>
              <a:gd name="connsiteX2" fmla="*/ 5516030 w 6059595"/>
              <a:gd name="connsiteY2" fmla="*/ 0 h 5925064"/>
              <a:gd name="connsiteX3" fmla="*/ 6059595 w 6059595"/>
              <a:gd name="connsiteY3" fmla="*/ 543565 h 5925064"/>
              <a:gd name="connsiteX4" fmla="*/ 6059595 w 6059595"/>
              <a:gd name="connsiteY4" fmla="*/ 5381499 h 5925064"/>
              <a:gd name="connsiteX5" fmla="*/ 5516030 w 6059595"/>
              <a:gd name="connsiteY5" fmla="*/ 5925064 h 5925064"/>
              <a:gd name="connsiteX6" fmla="*/ 543565 w 6059595"/>
              <a:gd name="connsiteY6" fmla="*/ 5925064 h 5925064"/>
              <a:gd name="connsiteX7" fmla="*/ 0 w 6059595"/>
              <a:gd name="connsiteY7" fmla="*/ 5381499 h 5925064"/>
              <a:gd name="connsiteX8" fmla="*/ 0 w 6059595"/>
              <a:gd name="connsiteY8" fmla="*/ 543565 h 5925064"/>
              <a:gd name="connsiteX0" fmla="*/ 0 w 6059595"/>
              <a:gd name="connsiteY0" fmla="*/ 5381499 h 5925064"/>
              <a:gd name="connsiteX1" fmla="*/ 543565 w 6059595"/>
              <a:gd name="connsiteY1" fmla="*/ 0 h 5925064"/>
              <a:gd name="connsiteX2" fmla="*/ 5516030 w 6059595"/>
              <a:gd name="connsiteY2" fmla="*/ 0 h 5925064"/>
              <a:gd name="connsiteX3" fmla="*/ 6059595 w 6059595"/>
              <a:gd name="connsiteY3" fmla="*/ 543565 h 5925064"/>
              <a:gd name="connsiteX4" fmla="*/ 6059595 w 6059595"/>
              <a:gd name="connsiteY4" fmla="*/ 5381499 h 5925064"/>
              <a:gd name="connsiteX5" fmla="*/ 5516030 w 6059595"/>
              <a:gd name="connsiteY5" fmla="*/ 5925064 h 5925064"/>
              <a:gd name="connsiteX6" fmla="*/ 543565 w 6059595"/>
              <a:gd name="connsiteY6" fmla="*/ 5925064 h 5925064"/>
              <a:gd name="connsiteX7" fmla="*/ 0 w 6059595"/>
              <a:gd name="connsiteY7" fmla="*/ 5381499 h 5925064"/>
              <a:gd name="connsiteX0" fmla="*/ 621558 w 6137588"/>
              <a:gd name="connsiteY0" fmla="*/ 5925064 h 5925064"/>
              <a:gd name="connsiteX1" fmla="*/ 621558 w 6137588"/>
              <a:gd name="connsiteY1" fmla="*/ 0 h 5925064"/>
              <a:gd name="connsiteX2" fmla="*/ 5594023 w 6137588"/>
              <a:gd name="connsiteY2" fmla="*/ 0 h 5925064"/>
              <a:gd name="connsiteX3" fmla="*/ 6137588 w 6137588"/>
              <a:gd name="connsiteY3" fmla="*/ 543565 h 5925064"/>
              <a:gd name="connsiteX4" fmla="*/ 6137588 w 6137588"/>
              <a:gd name="connsiteY4" fmla="*/ 5381499 h 5925064"/>
              <a:gd name="connsiteX5" fmla="*/ 5594023 w 6137588"/>
              <a:gd name="connsiteY5" fmla="*/ 5925064 h 5925064"/>
              <a:gd name="connsiteX6" fmla="*/ 621558 w 6137588"/>
              <a:gd name="connsiteY6" fmla="*/ 5925064 h 5925064"/>
              <a:gd name="connsiteX0" fmla="*/ 621558 w 6137588"/>
              <a:gd name="connsiteY0" fmla="*/ 5925064 h 5925064"/>
              <a:gd name="connsiteX1" fmla="*/ 621558 w 6137588"/>
              <a:gd name="connsiteY1" fmla="*/ 0 h 5925064"/>
              <a:gd name="connsiteX2" fmla="*/ 5594023 w 6137588"/>
              <a:gd name="connsiteY2" fmla="*/ 0 h 5925064"/>
              <a:gd name="connsiteX3" fmla="*/ 6137588 w 6137588"/>
              <a:gd name="connsiteY3" fmla="*/ 543565 h 5925064"/>
              <a:gd name="connsiteX4" fmla="*/ 6137588 w 6137588"/>
              <a:gd name="connsiteY4" fmla="*/ 5381499 h 5925064"/>
              <a:gd name="connsiteX5" fmla="*/ 5594023 w 6137588"/>
              <a:gd name="connsiteY5" fmla="*/ 5925064 h 5925064"/>
              <a:gd name="connsiteX6" fmla="*/ 621558 w 6137588"/>
              <a:gd name="connsiteY6" fmla="*/ 5925064 h 5925064"/>
              <a:gd name="connsiteX0" fmla="*/ 368331 w 5884361"/>
              <a:gd name="connsiteY0" fmla="*/ 5925064 h 5925064"/>
              <a:gd name="connsiteX1" fmla="*/ 368331 w 5884361"/>
              <a:gd name="connsiteY1" fmla="*/ 0 h 5925064"/>
              <a:gd name="connsiteX2" fmla="*/ 5340796 w 5884361"/>
              <a:gd name="connsiteY2" fmla="*/ 0 h 5925064"/>
              <a:gd name="connsiteX3" fmla="*/ 5884361 w 5884361"/>
              <a:gd name="connsiteY3" fmla="*/ 543565 h 5925064"/>
              <a:gd name="connsiteX4" fmla="*/ 5884361 w 5884361"/>
              <a:gd name="connsiteY4" fmla="*/ 5381499 h 5925064"/>
              <a:gd name="connsiteX5" fmla="*/ 5340796 w 5884361"/>
              <a:gd name="connsiteY5" fmla="*/ 5925064 h 5925064"/>
              <a:gd name="connsiteX6" fmla="*/ 368331 w 5884361"/>
              <a:gd name="connsiteY6" fmla="*/ 5925064 h 5925064"/>
              <a:gd name="connsiteX0" fmla="*/ 0 w 5516030"/>
              <a:gd name="connsiteY0" fmla="*/ 5925064 h 5925064"/>
              <a:gd name="connsiteX1" fmla="*/ 0 w 5516030"/>
              <a:gd name="connsiteY1" fmla="*/ 0 h 5925064"/>
              <a:gd name="connsiteX2" fmla="*/ 4972465 w 5516030"/>
              <a:gd name="connsiteY2" fmla="*/ 0 h 5925064"/>
              <a:gd name="connsiteX3" fmla="*/ 5516030 w 5516030"/>
              <a:gd name="connsiteY3" fmla="*/ 543565 h 5925064"/>
              <a:gd name="connsiteX4" fmla="*/ 5516030 w 5516030"/>
              <a:gd name="connsiteY4" fmla="*/ 5381499 h 5925064"/>
              <a:gd name="connsiteX5" fmla="*/ 4972465 w 5516030"/>
              <a:gd name="connsiteY5" fmla="*/ 5925064 h 5925064"/>
              <a:gd name="connsiteX6" fmla="*/ 0 w 5516030"/>
              <a:gd name="connsiteY6" fmla="*/ 5925064 h 5925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16030" h="5925064">
                <a:moveTo>
                  <a:pt x="0" y="5925064"/>
                </a:moveTo>
                <a:lnTo>
                  <a:pt x="0" y="0"/>
                </a:lnTo>
                <a:lnTo>
                  <a:pt x="4972465" y="0"/>
                </a:lnTo>
                <a:cubicBezTo>
                  <a:pt x="5272668" y="0"/>
                  <a:pt x="5516030" y="243362"/>
                  <a:pt x="5516030" y="543565"/>
                </a:cubicBezTo>
                <a:lnTo>
                  <a:pt x="5516030" y="5381499"/>
                </a:lnTo>
                <a:cubicBezTo>
                  <a:pt x="5516030" y="5681702"/>
                  <a:pt x="5272668" y="5925064"/>
                  <a:pt x="4972465" y="5925064"/>
                </a:cubicBezTo>
                <a:lnTo>
                  <a:pt x="0" y="5925064"/>
                </a:lnTo>
                <a:close/>
              </a:path>
            </a:pathLst>
          </a:custGeom>
          <a:ln>
            <a:noFill/>
          </a:ln>
        </p:spPr>
        <p:txBody>
          <a:bodyPr rtlCol="0">
            <a:normAutofit/>
          </a:bodyPr>
          <a:lstStyle/>
          <a:p>
            <a:pPr lvl="0"/>
            <a:r>
              <a:rPr lang="nl-NL" noProof="0"/>
              <a:t>Klik op het pictogram als u een afbeelding wilt toevoegen</a:t>
            </a:r>
          </a:p>
        </p:txBody>
      </p:sp>
      <p:sp>
        <p:nvSpPr>
          <p:cNvPr id="6" name="Tijdelijke aanduiding voor datum 4">
            <a:extLst>
              <a:ext uri="{FF2B5EF4-FFF2-40B4-BE49-F238E27FC236}">
                <a16:creationId xmlns:a16="http://schemas.microsoft.com/office/drawing/2014/main" id="{AFA32734-C720-4C4C-AB23-CBBB7F2DDB4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558BEB-1A52-45B2-A444-F1DBC595C16C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7" name="Tijdelijke aanduiding voor voettekst 5">
            <a:extLst>
              <a:ext uri="{FF2B5EF4-FFF2-40B4-BE49-F238E27FC236}">
                <a16:creationId xmlns:a16="http://schemas.microsoft.com/office/drawing/2014/main" id="{4C854397-3401-4BDF-9AC3-4E247E7DF89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6">
            <a:extLst>
              <a:ext uri="{FF2B5EF4-FFF2-40B4-BE49-F238E27FC236}">
                <a16:creationId xmlns:a16="http://schemas.microsoft.com/office/drawing/2014/main" id="{567E2BE9-328A-4138-A4BC-F1A26744FEA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A3839C-4D1B-4CED-95BE-9704FAE1FE91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10" name="Tijdelijke aanduiding voor tekst 3">
            <a:extLst>
              <a:ext uri="{FF2B5EF4-FFF2-40B4-BE49-F238E27FC236}">
                <a16:creationId xmlns:a16="http://schemas.microsoft.com/office/drawing/2014/main" id="{72722370-7483-4A12-BB6B-1E4FA116421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253613" y="1825626"/>
            <a:ext cx="4279025" cy="41179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9002952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chtrood tekstvlak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: afgeronde bovenhoeken 4">
            <a:extLst>
              <a:ext uri="{FF2B5EF4-FFF2-40B4-BE49-F238E27FC236}">
                <a16:creationId xmlns:a16="http://schemas.microsoft.com/office/drawing/2014/main" id="{F677B6F7-8D40-440C-B68B-5BE915E2479D}"/>
              </a:ext>
            </a:extLst>
          </p:cNvPr>
          <p:cNvSpPr/>
          <p:nvPr/>
        </p:nvSpPr>
        <p:spPr>
          <a:xfrm rot="16200000">
            <a:off x="347662" y="617538"/>
            <a:ext cx="5924550" cy="5419725"/>
          </a:xfrm>
          <a:prstGeom prst="round2SameRect">
            <a:avLst>
              <a:gd name="adj1" fmla="val 12902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53613" y="676277"/>
            <a:ext cx="4279025" cy="101441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11" name="Tijdelijke aanduiding voor afbeelding 33"/>
          <p:cNvSpPr>
            <a:spLocks noGrp="1"/>
          </p:cNvSpPr>
          <p:nvPr>
            <p:ph type="pic" sz="quarter" idx="14"/>
          </p:nvPr>
        </p:nvSpPr>
        <p:spPr>
          <a:xfrm>
            <a:off x="6019801" y="365121"/>
            <a:ext cx="5572433" cy="5925064"/>
          </a:xfrm>
          <a:custGeom>
            <a:avLst/>
            <a:gdLst>
              <a:gd name="connsiteX0" fmla="*/ 0 w 6059595"/>
              <a:gd name="connsiteY0" fmla="*/ 543565 h 5925064"/>
              <a:gd name="connsiteX1" fmla="*/ 543565 w 6059595"/>
              <a:gd name="connsiteY1" fmla="*/ 0 h 5925064"/>
              <a:gd name="connsiteX2" fmla="*/ 5516030 w 6059595"/>
              <a:gd name="connsiteY2" fmla="*/ 0 h 5925064"/>
              <a:gd name="connsiteX3" fmla="*/ 6059595 w 6059595"/>
              <a:gd name="connsiteY3" fmla="*/ 543565 h 5925064"/>
              <a:gd name="connsiteX4" fmla="*/ 6059595 w 6059595"/>
              <a:gd name="connsiteY4" fmla="*/ 5381499 h 5925064"/>
              <a:gd name="connsiteX5" fmla="*/ 5516030 w 6059595"/>
              <a:gd name="connsiteY5" fmla="*/ 5925064 h 5925064"/>
              <a:gd name="connsiteX6" fmla="*/ 543565 w 6059595"/>
              <a:gd name="connsiteY6" fmla="*/ 5925064 h 5925064"/>
              <a:gd name="connsiteX7" fmla="*/ 0 w 6059595"/>
              <a:gd name="connsiteY7" fmla="*/ 5381499 h 5925064"/>
              <a:gd name="connsiteX8" fmla="*/ 0 w 6059595"/>
              <a:gd name="connsiteY8" fmla="*/ 543565 h 5925064"/>
              <a:gd name="connsiteX0" fmla="*/ 0 w 6059595"/>
              <a:gd name="connsiteY0" fmla="*/ 5381499 h 5925064"/>
              <a:gd name="connsiteX1" fmla="*/ 543565 w 6059595"/>
              <a:gd name="connsiteY1" fmla="*/ 0 h 5925064"/>
              <a:gd name="connsiteX2" fmla="*/ 5516030 w 6059595"/>
              <a:gd name="connsiteY2" fmla="*/ 0 h 5925064"/>
              <a:gd name="connsiteX3" fmla="*/ 6059595 w 6059595"/>
              <a:gd name="connsiteY3" fmla="*/ 543565 h 5925064"/>
              <a:gd name="connsiteX4" fmla="*/ 6059595 w 6059595"/>
              <a:gd name="connsiteY4" fmla="*/ 5381499 h 5925064"/>
              <a:gd name="connsiteX5" fmla="*/ 5516030 w 6059595"/>
              <a:gd name="connsiteY5" fmla="*/ 5925064 h 5925064"/>
              <a:gd name="connsiteX6" fmla="*/ 543565 w 6059595"/>
              <a:gd name="connsiteY6" fmla="*/ 5925064 h 5925064"/>
              <a:gd name="connsiteX7" fmla="*/ 0 w 6059595"/>
              <a:gd name="connsiteY7" fmla="*/ 5381499 h 5925064"/>
              <a:gd name="connsiteX0" fmla="*/ 621558 w 6137588"/>
              <a:gd name="connsiteY0" fmla="*/ 5925064 h 5925064"/>
              <a:gd name="connsiteX1" fmla="*/ 621558 w 6137588"/>
              <a:gd name="connsiteY1" fmla="*/ 0 h 5925064"/>
              <a:gd name="connsiteX2" fmla="*/ 5594023 w 6137588"/>
              <a:gd name="connsiteY2" fmla="*/ 0 h 5925064"/>
              <a:gd name="connsiteX3" fmla="*/ 6137588 w 6137588"/>
              <a:gd name="connsiteY3" fmla="*/ 543565 h 5925064"/>
              <a:gd name="connsiteX4" fmla="*/ 6137588 w 6137588"/>
              <a:gd name="connsiteY4" fmla="*/ 5381499 h 5925064"/>
              <a:gd name="connsiteX5" fmla="*/ 5594023 w 6137588"/>
              <a:gd name="connsiteY5" fmla="*/ 5925064 h 5925064"/>
              <a:gd name="connsiteX6" fmla="*/ 621558 w 6137588"/>
              <a:gd name="connsiteY6" fmla="*/ 5925064 h 5925064"/>
              <a:gd name="connsiteX0" fmla="*/ 621558 w 6137588"/>
              <a:gd name="connsiteY0" fmla="*/ 5925064 h 5925064"/>
              <a:gd name="connsiteX1" fmla="*/ 621558 w 6137588"/>
              <a:gd name="connsiteY1" fmla="*/ 0 h 5925064"/>
              <a:gd name="connsiteX2" fmla="*/ 5594023 w 6137588"/>
              <a:gd name="connsiteY2" fmla="*/ 0 h 5925064"/>
              <a:gd name="connsiteX3" fmla="*/ 6137588 w 6137588"/>
              <a:gd name="connsiteY3" fmla="*/ 543565 h 5925064"/>
              <a:gd name="connsiteX4" fmla="*/ 6137588 w 6137588"/>
              <a:gd name="connsiteY4" fmla="*/ 5381499 h 5925064"/>
              <a:gd name="connsiteX5" fmla="*/ 5594023 w 6137588"/>
              <a:gd name="connsiteY5" fmla="*/ 5925064 h 5925064"/>
              <a:gd name="connsiteX6" fmla="*/ 621558 w 6137588"/>
              <a:gd name="connsiteY6" fmla="*/ 5925064 h 5925064"/>
              <a:gd name="connsiteX0" fmla="*/ 368331 w 5884361"/>
              <a:gd name="connsiteY0" fmla="*/ 5925064 h 5925064"/>
              <a:gd name="connsiteX1" fmla="*/ 368331 w 5884361"/>
              <a:gd name="connsiteY1" fmla="*/ 0 h 5925064"/>
              <a:gd name="connsiteX2" fmla="*/ 5340796 w 5884361"/>
              <a:gd name="connsiteY2" fmla="*/ 0 h 5925064"/>
              <a:gd name="connsiteX3" fmla="*/ 5884361 w 5884361"/>
              <a:gd name="connsiteY3" fmla="*/ 543565 h 5925064"/>
              <a:gd name="connsiteX4" fmla="*/ 5884361 w 5884361"/>
              <a:gd name="connsiteY4" fmla="*/ 5381499 h 5925064"/>
              <a:gd name="connsiteX5" fmla="*/ 5340796 w 5884361"/>
              <a:gd name="connsiteY5" fmla="*/ 5925064 h 5925064"/>
              <a:gd name="connsiteX6" fmla="*/ 368331 w 5884361"/>
              <a:gd name="connsiteY6" fmla="*/ 5925064 h 5925064"/>
              <a:gd name="connsiteX0" fmla="*/ 0 w 5516030"/>
              <a:gd name="connsiteY0" fmla="*/ 5925064 h 5925064"/>
              <a:gd name="connsiteX1" fmla="*/ 0 w 5516030"/>
              <a:gd name="connsiteY1" fmla="*/ 0 h 5925064"/>
              <a:gd name="connsiteX2" fmla="*/ 4972465 w 5516030"/>
              <a:gd name="connsiteY2" fmla="*/ 0 h 5925064"/>
              <a:gd name="connsiteX3" fmla="*/ 5516030 w 5516030"/>
              <a:gd name="connsiteY3" fmla="*/ 543565 h 5925064"/>
              <a:gd name="connsiteX4" fmla="*/ 5516030 w 5516030"/>
              <a:gd name="connsiteY4" fmla="*/ 5381499 h 5925064"/>
              <a:gd name="connsiteX5" fmla="*/ 4972465 w 5516030"/>
              <a:gd name="connsiteY5" fmla="*/ 5925064 h 5925064"/>
              <a:gd name="connsiteX6" fmla="*/ 0 w 5516030"/>
              <a:gd name="connsiteY6" fmla="*/ 5925064 h 5925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16030" h="5925064">
                <a:moveTo>
                  <a:pt x="0" y="5925064"/>
                </a:moveTo>
                <a:lnTo>
                  <a:pt x="0" y="0"/>
                </a:lnTo>
                <a:lnTo>
                  <a:pt x="4972465" y="0"/>
                </a:lnTo>
                <a:cubicBezTo>
                  <a:pt x="5272668" y="0"/>
                  <a:pt x="5516030" y="243362"/>
                  <a:pt x="5516030" y="543565"/>
                </a:cubicBezTo>
                <a:lnTo>
                  <a:pt x="5516030" y="5381499"/>
                </a:lnTo>
                <a:cubicBezTo>
                  <a:pt x="5516030" y="5681702"/>
                  <a:pt x="5272668" y="5925064"/>
                  <a:pt x="4972465" y="5925064"/>
                </a:cubicBezTo>
                <a:lnTo>
                  <a:pt x="0" y="5925064"/>
                </a:lnTo>
                <a:close/>
              </a:path>
            </a:pathLst>
          </a:custGeom>
          <a:ln>
            <a:noFill/>
          </a:ln>
        </p:spPr>
        <p:txBody>
          <a:bodyPr rtlCol="0">
            <a:normAutofit/>
          </a:bodyPr>
          <a:lstStyle/>
          <a:p>
            <a:pPr lvl="0"/>
            <a:r>
              <a:rPr lang="nl-NL" noProof="0"/>
              <a:t>Klik op het pictogram als u een afbeelding wilt toevoegen</a:t>
            </a:r>
          </a:p>
        </p:txBody>
      </p:sp>
      <p:sp>
        <p:nvSpPr>
          <p:cNvPr id="6" name="Tijdelijke aanduiding voor datum 4">
            <a:extLst>
              <a:ext uri="{FF2B5EF4-FFF2-40B4-BE49-F238E27FC236}">
                <a16:creationId xmlns:a16="http://schemas.microsoft.com/office/drawing/2014/main" id="{8556F32C-389D-4C45-87A1-2AAEDE6B88B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57CF2C-11FC-430C-9D2F-6C3A297E3F00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7" name="Tijdelijke aanduiding voor voettekst 5">
            <a:extLst>
              <a:ext uri="{FF2B5EF4-FFF2-40B4-BE49-F238E27FC236}">
                <a16:creationId xmlns:a16="http://schemas.microsoft.com/office/drawing/2014/main" id="{DA0B70D4-E89D-4440-98C3-6C8E869E31F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6">
            <a:extLst>
              <a:ext uri="{FF2B5EF4-FFF2-40B4-BE49-F238E27FC236}">
                <a16:creationId xmlns:a16="http://schemas.microsoft.com/office/drawing/2014/main" id="{54F1CD8D-7A1C-48AF-B51C-6DA5D68F334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C461E4-AEA2-42DE-AEC7-E176C4615214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10" name="Tijdelijke aanduiding voor tekst 3">
            <a:extLst>
              <a:ext uri="{FF2B5EF4-FFF2-40B4-BE49-F238E27FC236}">
                <a16:creationId xmlns:a16="http://schemas.microsoft.com/office/drawing/2014/main" id="{77DA0FAF-73A1-4CC4-A033-EAEA4729C25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253613" y="1825626"/>
            <a:ext cx="4279025" cy="411797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26141988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ed be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1" y="4105471"/>
            <a:ext cx="10515600" cy="1088831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1851" y="5221290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" name="Tijdelijke aanduiding voor afbeelding 33"/>
          <p:cNvSpPr>
            <a:spLocks noGrp="1"/>
          </p:cNvSpPr>
          <p:nvPr>
            <p:ph type="pic" sz="quarter" idx="14"/>
          </p:nvPr>
        </p:nvSpPr>
        <p:spPr>
          <a:xfrm>
            <a:off x="831851" y="657226"/>
            <a:ext cx="10515600" cy="3149664"/>
          </a:xfrm>
          <a:prstGeom prst="roundRect">
            <a:avLst>
              <a:gd name="adj" fmla="val 9174"/>
            </a:avLst>
          </a:prstGeom>
          <a:ln>
            <a:noFill/>
          </a:ln>
        </p:spPr>
        <p:txBody>
          <a:bodyPr rtlCol="0">
            <a:normAutofit/>
          </a:bodyPr>
          <a:lstStyle/>
          <a:p>
            <a:pPr lvl="0"/>
            <a:r>
              <a:rPr lang="nl-NL" noProof="0"/>
              <a:t>Klik op het pictogram als u een afbeelding wilt toevoegen</a:t>
            </a:r>
          </a:p>
        </p:txBody>
      </p:sp>
      <p:sp>
        <p:nvSpPr>
          <p:cNvPr id="5" name="Tijdelijke aanduiding voor datum 3">
            <a:extLst>
              <a:ext uri="{FF2B5EF4-FFF2-40B4-BE49-F238E27FC236}">
                <a16:creationId xmlns:a16="http://schemas.microsoft.com/office/drawing/2014/main" id="{E4CF1203-AD36-4CED-AEF9-1D01BC50139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D87837-9DE8-4C2F-B8FF-56B450768CB9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6" name="Tijdelijke aanduiding voor voettekst 4">
            <a:extLst>
              <a:ext uri="{FF2B5EF4-FFF2-40B4-BE49-F238E27FC236}">
                <a16:creationId xmlns:a16="http://schemas.microsoft.com/office/drawing/2014/main" id="{3698B360-B592-461C-948C-11B4D97E600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5">
            <a:extLst>
              <a:ext uri="{FF2B5EF4-FFF2-40B4-BE49-F238E27FC236}">
                <a16:creationId xmlns:a16="http://schemas.microsoft.com/office/drawing/2014/main" id="{70B04E99-4169-4C91-A459-2506808EDF5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D3C36E-AFD5-4B25-82B8-A74C91052FCF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21547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od tekstvlak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: afgeronde bovenhoeken 6">
            <a:extLst>
              <a:ext uri="{FF2B5EF4-FFF2-40B4-BE49-F238E27FC236}">
                <a16:creationId xmlns:a16="http://schemas.microsoft.com/office/drawing/2014/main" id="{5CFA05CE-A0A7-4936-AE4C-6D328100BEDB}"/>
              </a:ext>
            </a:extLst>
          </p:cNvPr>
          <p:cNvSpPr/>
          <p:nvPr userDrawn="1"/>
        </p:nvSpPr>
        <p:spPr>
          <a:xfrm rot="16200000">
            <a:off x="347662" y="617538"/>
            <a:ext cx="5924550" cy="5419725"/>
          </a:xfrm>
          <a:prstGeom prst="round2SameRect">
            <a:avLst>
              <a:gd name="adj1" fmla="val 13254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53613" y="681039"/>
            <a:ext cx="4279025" cy="1009651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14" name="Tijdelijke aanduiding voor afbeelding 33"/>
          <p:cNvSpPr>
            <a:spLocks noGrp="1"/>
          </p:cNvSpPr>
          <p:nvPr>
            <p:ph type="pic" sz="quarter" idx="14"/>
          </p:nvPr>
        </p:nvSpPr>
        <p:spPr>
          <a:xfrm>
            <a:off x="6019801" y="365121"/>
            <a:ext cx="5572433" cy="5925064"/>
          </a:xfrm>
          <a:custGeom>
            <a:avLst/>
            <a:gdLst>
              <a:gd name="connsiteX0" fmla="*/ 0 w 6059595"/>
              <a:gd name="connsiteY0" fmla="*/ 543565 h 5925064"/>
              <a:gd name="connsiteX1" fmla="*/ 543565 w 6059595"/>
              <a:gd name="connsiteY1" fmla="*/ 0 h 5925064"/>
              <a:gd name="connsiteX2" fmla="*/ 5516030 w 6059595"/>
              <a:gd name="connsiteY2" fmla="*/ 0 h 5925064"/>
              <a:gd name="connsiteX3" fmla="*/ 6059595 w 6059595"/>
              <a:gd name="connsiteY3" fmla="*/ 543565 h 5925064"/>
              <a:gd name="connsiteX4" fmla="*/ 6059595 w 6059595"/>
              <a:gd name="connsiteY4" fmla="*/ 5381499 h 5925064"/>
              <a:gd name="connsiteX5" fmla="*/ 5516030 w 6059595"/>
              <a:gd name="connsiteY5" fmla="*/ 5925064 h 5925064"/>
              <a:gd name="connsiteX6" fmla="*/ 543565 w 6059595"/>
              <a:gd name="connsiteY6" fmla="*/ 5925064 h 5925064"/>
              <a:gd name="connsiteX7" fmla="*/ 0 w 6059595"/>
              <a:gd name="connsiteY7" fmla="*/ 5381499 h 5925064"/>
              <a:gd name="connsiteX8" fmla="*/ 0 w 6059595"/>
              <a:gd name="connsiteY8" fmla="*/ 543565 h 5925064"/>
              <a:gd name="connsiteX0" fmla="*/ 0 w 6059595"/>
              <a:gd name="connsiteY0" fmla="*/ 5381499 h 5925064"/>
              <a:gd name="connsiteX1" fmla="*/ 543565 w 6059595"/>
              <a:gd name="connsiteY1" fmla="*/ 0 h 5925064"/>
              <a:gd name="connsiteX2" fmla="*/ 5516030 w 6059595"/>
              <a:gd name="connsiteY2" fmla="*/ 0 h 5925064"/>
              <a:gd name="connsiteX3" fmla="*/ 6059595 w 6059595"/>
              <a:gd name="connsiteY3" fmla="*/ 543565 h 5925064"/>
              <a:gd name="connsiteX4" fmla="*/ 6059595 w 6059595"/>
              <a:gd name="connsiteY4" fmla="*/ 5381499 h 5925064"/>
              <a:gd name="connsiteX5" fmla="*/ 5516030 w 6059595"/>
              <a:gd name="connsiteY5" fmla="*/ 5925064 h 5925064"/>
              <a:gd name="connsiteX6" fmla="*/ 543565 w 6059595"/>
              <a:gd name="connsiteY6" fmla="*/ 5925064 h 5925064"/>
              <a:gd name="connsiteX7" fmla="*/ 0 w 6059595"/>
              <a:gd name="connsiteY7" fmla="*/ 5381499 h 5925064"/>
              <a:gd name="connsiteX0" fmla="*/ 621558 w 6137588"/>
              <a:gd name="connsiteY0" fmla="*/ 5925064 h 5925064"/>
              <a:gd name="connsiteX1" fmla="*/ 621558 w 6137588"/>
              <a:gd name="connsiteY1" fmla="*/ 0 h 5925064"/>
              <a:gd name="connsiteX2" fmla="*/ 5594023 w 6137588"/>
              <a:gd name="connsiteY2" fmla="*/ 0 h 5925064"/>
              <a:gd name="connsiteX3" fmla="*/ 6137588 w 6137588"/>
              <a:gd name="connsiteY3" fmla="*/ 543565 h 5925064"/>
              <a:gd name="connsiteX4" fmla="*/ 6137588 w 6137588"/>
              <a:gd name="connsiteY4" fmla="*/ 5381499 h 5925064"/>
              <a:gd name="connsiteX5" fmla="*/ 5594023 w 6137588"/>
              <a:gd name="connsiteY5" fmla="*/ 5925064 h 5925064"/>
              <a:gd name="connsiteX6" fmla="*/ 621558 w 6137588"/>
              <a:gd name="connsiteY6" fmla="*/ 5925064 h 5925064"/>
              <a:gd name="connsiteX0" fmla="*/ 621558 w 6137588"/>
              <a:gd name="connsiteY0" fmla="*/ 5925064 h 5925064"/>
              <a:gd name="connsiteX1" fmla="*/ 621558 w 6137588"/>
              <a:gd name="connsiteY1" fmla="*/ 0 h 5925064"/>
              <a:gd name="connsiteX2" fmla="*/ 5594023 w 6137588"/>
              <a:gd name="connsiteY2" fmla="*/ 0 h 5925064"/>
              <a:gd name="connsiteX3" fmla="*/ 6137588 w 6137588"/>
              <a:gd name="connsiteY3" fmla="*/ 543565 h 5925064"/>
              <a:gd name="connsiteX4" fmla="*/ 6137588 w 6137588"/>
              <a:gd name="connsiteY4" fmla="*/ 5381499 h 5925064"/>
              <a:gd name="connsiteX5" fmla="*/ 5594023 w 6137588"/>
              <a:gd name="connsiteY5" fmla="*/ 5925064 h 5925064"/>
              <a:gd name="connsiteX6" fmla="*/ 621558 w 6137588"/>
              <a:gd name="connsiteY6" fmla="*/ 5925064 h 5925064"/>
              <a:gd name="connsiteX0" fmla="*/ 368331 w 5884361"/>
              <a:gd name="connsiteY0" fmla="*/ 5925064 h 5925064"/>
              <a:gd name="connsiteX1" fmla="*/ 368331 w 5884361"/>
              <a:gd name="connsiteY1" fmla="*/ 0 h 5925064"/>
              <a:gd name="connsiteX2" fmla="*/ 5340796 w 5884361"/>
              <a:gd name="connsiteY2" fmla="*/ 0 h 5925064"/>
              <a:gd name="connsiteX3" fmla="*/ 5884361 w 5884361"/>
              <a:gd name="connsiteY3" fmla="*/ 543565 h 5925064"/>
              <a:gd name="connsiteX4" fmla="*/ 5884361 w 5884361"/>
              <a:gd name="connsiteY4" fmla="*/ 5381499 h 5925064"/>
              <a:gd name="connsiteX5" fmla="*/ 5340796 w 5884361"/>
              <a:gd name="connsiteY5" fmla="*/ 5925064 h 5925064"/>
              <a:gd name="connsiteX6" fmla="*/ 368331 w 5884361"/>
              <a:gd name="connsiteY6" fmla="*/ 5925064 h 5925064"/>
              <a:gd name="connsiteX0" fmla="*/ 0 w 5516030"/>
              <a:gd name="connsiteY0" fmla="*/ 5925064 h 5925064"/>
              <a:gd name="connsiteX1" fmla="*/ 0 w 5516030"/>
              <a:gd name="connsiteY1" fmla="*/ 0 h 5925064"/>
              <a:gd name="connsiteX2" fmla="*/ 4972465 w 5516030"/>
              <a:gd name="connsiteY2" fmla="*/ 0 h 5925064"/>
              <a:gd name="connsiteX3" fmla="*/ 5516030 w 5516030"/>
              <a:gd name="connsiteY3" fmla="*/ 543565 h 5925064"/>
              <a:gd name="connsiteX4" fmla="*/ 5516030 w 5516030"/>
              <a:gd name="connsiteY4" fmla="*/ 5381499 h 5925064"/>
              <a:gd name="connsiteX5" fmla="*/ 4972465 w 5516030"/>
              <a:gd name="connsiteY5" fmla="*/ 5925064 h 5925064"/>
              <a:gd name="connsiteX6" fmla="*/ 0 w 5516030"/>
              <a:gd name="connsiteY6" fmla="*/ 5925064 h 5925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16030" h="5925064">
                <a:moveTo>
                  <a:pt x="0" y="5925064"/>
                </a:moveTo>
                <a:lnTo>
                  <a:pt x="0" y="0"/>
                </a:lnTo>
                <a:lnTo>
                  <a:pt x="4972465" y="0"/>
                </a:lnTo>
                <a:cubicBezTo>
                  <a:pt x="5272668" y="0"/>
                  <a:pt x="5516030" y="243362"/>
                  <a:pt x="5516030" y="543565"/>
                </a:cubicBezTo>
                <a:lnTo>
                  <a:pt x="5516030" y="5381499"/>
                </a:lnTo>
                <a:cubicBezTo>
                  <a:pt x="5516030" y="5681702"/>
                  <a:pt x="5272668" y="5925064"/>
                  <a:pt x="4972465" y="5925064"/>
                </a:cubicBezTo>
                <a:lnTo>
                  <a:pt x="0" y="5925064"/>
                </a:lnTo>
                <a:close/>
              </a:path>
            </a:pathLst>
          </a:custGeom>
          <a:ln>
            <a:noFill/>
          </a:ln>
        </p:spPr>
        <p:txBody>
          <a:bodyPr rtlCol="0">
            <a:normAutofit/>
          </a:bodyPr>
          <a:lstStyle/>
          <a:p>
            <a:pPr lvl="0"/>
            <a:r>
              <a:rPr lang="nl-NL" noProof="0"/>
              <a:t>Klik op het pictogram als u een afbeelding wilt toevoegen</a:t>
            </a:r>
          </a:p>
        </p:txBody>
      </p:sp>
      <p:sp>
        <p:nvSpPr>
          <p:cNvPr id="10" name="Tijdelijke aanduiding voor datum 4">
            <a:extLst>
              <a:ext uri="{FF2B5EF4-FFF2-40B4-BE49-F238E27FC236}">
                <a16:creationId xmlns:a16="http://schemas.microsoft.com/office/drawing/2014/main" id="{BF8122E9-DEBD-48F5-9F7E-A46DEDA0FF5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2FA06C-52CA-4323-BD71-9B7F109E6B16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12" name="Tijdelijke aanduiding voor voettekst 5">
            <a:extLst>
              <a:ext uri="{FF2B5EF4-FFF2-40B4-BE49-F238E27FC236}">
                <a16:creationId xmlns:a16="http://schemas.microsoft.com/office/drawing/2014/main" id="{918EAE71-69BD-4EEC-A795-935EC642024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15" name="Tijdelijke aanduiding voor dianummer 6">
            <a:extLst>
              <a:ext uri="{FF2B5EF4-FFF2-40B4-BE49-F238E27FC236}">
                <a16:creationId xmlns:a16="http://schemas.microsoft.com/office/drawing/2014/main" id="{37B1A2C0-E640-421D-AB48-E4C0D51FD3D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5C5278-C9AD-482E-9A6F-A76B4F783A71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11" name="Tijdelijke aanduiding voor tekst 3">
            <a:extLst>
              <a:ext uri="{FF2B5EF4-FFF2-40B4-BE49-F238E27FC236}">
                <a16:creationId xmlns:a16="http://schemas.microsoft.com/office/drawing/2014/main" id="{0438D332-9C08-4224-A7CD-C7ED6384DD5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253613" y="1825626"/>
            <a:ext cx="4279025" cy="411797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32948256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wee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53613" y="365127"/>
            <a:ext cx="10100187" cy="132556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10" name="Tijdelijke aanduiding voor inhoud 2"/>
          <p:cNvSpPr>
            <a:spLocks noGrp="1"/>
          </p:cNvSpPr>
          <p:nvPr>
            <p:ph sz="half" idx="13"/>
          </p:nvPr>
        </p:nvSpPr>
        <p:spPr>
          <a:xfrm>
            <a:off x="6400802" y="1825625"/>
            <a:ext cx="4952999" cy="357505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11" name="Tijdelijke aanduiding voor inhoud 2"/>
          <p:cNvSpPr>
            <a:spLocks noGrp="1"/>
          </p:cNvSpPr>
          <p:nvPr>
            <p:ph sz="half" idx="14"/>
          </p:nvPr>
        </p:nvSpPr>
        <p:spPr>
          <a:xfrm>
            <a:off x="1238251" y="1825625"/>
            <a:ext cx="4952999" cy="357505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540769CB-607E-4720-9DD1-AA892A79920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04940F-C4C9-4B53-8FC8-A5E47666D651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2FFA9B49-2137-46E9-AE89-B7F292674F4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957ABABE-B0B2-4C2E-8376-4E3E0B1DEA9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B10C4C-B803-4694-9A57-348DF1706F9E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263184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itels en twee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3">
            <a:extLst>
              <a:ext uri="{FF2B5EF4-FFF2-40B4-BE49-F238E27FC236}">
                <a16:creationId xmlns:a16="http://schemas.microsoft.com/office/drawing/2014/main" id="{84802B67-F5EA-4178-8DF3-570AB27EB3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2BF5F6-A2D0-4BCD-9950-237DCD8501C3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8" name="Tijdelijke aanduiding voor voettekst 4">
            <a:extLst>
              <a:ext uri="{FF2B5EF4-FFF2-40B4-BE49-F238E27FC236}">
                <a16:creationId xmlns:a16="http://schemas.microsoft.com/office/drawing/2014/main" id="{702297AA-0D15-43E7-B294-34227C3DC7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9" name="Tijdelijke aanduiding voor dianummer 5">
            <a:extLst>
              <a:ext uri="{FF2B5EF4-FFF2-40B4-BE49-F238E27FC236}">
                <a16:creationId xmlns:a16="http://schemas.microsoft.com/office/drawing/2014/main" id="{B4E07080-420E-4FE4-8F1C-7D58A41E9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4FEBF0-F9C0-470B-ABEA-C37D7A94DFAA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824165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itel tekst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3">
            <a:extLst>
              <a:ext uri="{FF2B5EF4-FFF2-40B4-BE49-F238E27FC236}">
                <a16:creationId xmlns:a16="http://schemas.microsoft.com/office/drawing/2014/main" id="{905A176B-5B5E-4BE5-8425-A5EAED8533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FCBC0F-934F-4D3C-9AEF-B41BF514A152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6" name="Tijdelijke aanduiding voor voettekst 4">
            <a:extLst>
              <a:ext uri="{FF2B5EF4-FFF2-40B4-BE49-F238E27FC236}">
                <a16:creationId xmlns:a16="http://schemas.microsoft.com/office/drawing/2014/main" id="{A81C7FA0-7487-451B-8BF0-A5D3C0D9C3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5">
            <a:extLst>
              <a:ext uri="{FF2B5EF4-FFF2-40B4-BE49-F238E27FC236}">
                <a16:creationId xmlns:a16="http://schemas.microsoft.com/office/drawing/2014/main" id="{D87C69EA-84D7-426F-B753-C501001D06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05824E-08FA-46EA-9B80-070E2DA57703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549902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met tekst of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46A800FE-F365-41E2-AFCA-3EB314BEE6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FBADC5-8151-47BA-8D84-859CF6989D31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FE50B0E5-19FC-49B0-969C-31E1CDC591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069C9C0-53C1-4E60-84C8-351129E84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564EAF-4E52-47BD-842D-8A3CB8853430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43238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eldvullende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33">
            <a:extLst>
              <a:ext uri="{FF2B5EF4-FFF2-40B4-BE49-F238E27FC236}">
                <a16:creationId xmlns:a16="http://schemas.microsoft.com/office/drawing/2014/main" id="{C683D810-8BE7-4A63-B4AF-9FDE961E8C9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ln>
            <a:noFill/>
          </a:ln>
        </p:spPr>
        <p:txBody>
          <a:bodyPr rtlCol="0">
            <a:normAutofit/>
          </a:bodyPr>
          <a:lstStyle/>
          <a:p>
            <a:pPr lvl="0"/>
            <a:r>
              <a:rPr lang="nl-NL" noProof="0"/>
              <a:t>Klik op het pictogram als u een afbeelding wilt toevoegen</a:t>
            </a:r>
          </a:p>
        </p:txBody>
      </p:sp>
    </p:spTree>
    <p:extLst>
      <p:ext uri="{BB962C8B-B14F-4D97-AF65-F5344CB8AC3E}">
        <p14:creationId xmlns:p14="http://schemas.microsoft.com/office/powerpoint/2010/main" val="8939013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eldvulle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06547CE-805E-469C-9115-70E8A66E5DC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40693795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en ronde hoe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33"/>
          <p:cNvSpPr>
            <a:spLocks noGrp="1"/>
          </p:cNvSpPr>
          <p:nvPr>
            <p:ph type="pic" sz="quarter" idx="14"/>
          </p:nvPr>
        </p:nvSpPr>
        <p:spPr>
          <a:xfrm>
            <a:off x="624691" y="657227"/>
            <a:ext cx="10967236" cy="5509271"/>
          </a:xfrm>
          <a:prstGeom prst="roundRect">
            <a:avLst>
              <a:gd name="adj" fmla="val 9174"/>
            </a:avLst>
          </a:prstGeom>
          <a:ln>
            <a:noFill/>
          </a:ln>
        </p:spPr>
        <p:txBody>
          <a:bodyPr rtlCol="0">
            <a:normAutofit/>
          </a:bodyPr>
          <a:lstStyle/>
          <a:p>
            <a:pPr lvl="0"/>
            <a:r>
              <a:rPr lang="nl-NL" noProof="0"/>
              <a:t>Klik op het pictogram als u een afbeelding wilt toevoegen</a:t>
            </a:r>
          </a:p>
        </p:txBody>
      </p:sp>
      <p:sp>
        <p:nvSpPr>
          <p:cNvPr id="3" name="Tijdelijke aanduiding voor datum 3">
            <a:extLst>
              <a:ext uri="{FF2B5EF4-FFF2-40B4-BE49-F238E27FC236}">
                <a16:creationId xmlns:a16="http://schemas.microsoft.com/office/drawing/2014/main" id="{C3A8D683-592E-4711-B370-343607862FE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F6A8F0-379F-4BB9-A99A-F59B29624E40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4" name="Tijdelijke aanduiding voor voettekst 4">
            <a:extLst>
              <a:ext uri="{FF2B5EF4-FFF2-40B4-BE49-F238E27FC236}">
                <a16:creationId xmlns:a16="http://schemas.microsoft.com/office/drawing/2014/main" id="{E3A01C68-0A23-4658-A075-6A4A1AAF729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9D06CBEF-A952-4A4F-8764-9A2D2516AE1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4494DF-B67D-44E1-8BBF-DA1F51E298EC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184620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bject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1253613" y="1825627"/>
            <a:ext cx="4279025" cy="4117975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1253613" y="676277"/>
            <a:ext cx="4279025" cy="101441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22" name="Tijdelijke aanduiding voor afbeelding 33"/>
          <p:cNvSpPr>
            <a:spLocks noGrp="1"/>
          </p:cNvSpPr>
          <p:nvPr>
            <p:ph type="pic" sz="quarter" idx="14"/>
          </p:nvPr>
        </p:nvSpPr>
        <p:spPr>
          <a:xfrm>
            <a:off x="6188365" y="657227"/>
            <a:ext cx="5403561" cy="5509271"/>
          </a:xfrm>
          <a:prstGeom prst="roundRect">
            <a:avLst>
              <a:gd name="adj" fmla="val 9174"/>
            </a:avLst>
          </a:prstGeom>
          <a:ln>
            <a:noFill/>
          </a:ln>
        </p:spPr>
        <p:txBody>
          <a:bodyPr rtlCol="0">
            <a:normAutofit/>
          </a:bodyPr>
          <a:lstStyle/>
          <a:p>
            <a:pPr lvl="0"/>
            <a:r>
              <a:rPr lang="nl-NL" noProof="0"/>
              <a:t>Klik op het pictogram als u een afbeelding wilt toevoegen</a:t>
            </a:r>
          </a:p>
        </p:txBody>
      </p:sp>
      <p:sp>
        <p:nvSpPr>
          <p:cNvPr id="5" name="Tijdelijke aanduiding voor datum 3">
            <a:extLst>
              <a:ext uri="{FF2B5EF4-FFF2-40B4-BE49-F238E27FC236}">
                <a16:creationId xmlns:a16="http://schemas.microsoft.com/office/drawing/2014/main" id="{0EB15390-DE50-41B5-BDA6-5C66CA653DF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AF8486-6145-4AED-B5A8-645E0D673716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6" name="Tijdelijke aanduiding voor voettekst 4">
            <a:extLst>
              <a:ext uri="{FF2B5EF4-FFF2-40B4-BE49-F238E27FC236}">
                <a16:creationId xmlns:a16="http://schemas.microsoft.com/office/drawing/2014/main" id="{3A234726-0C0B-4B5E-AEB6-505A64BEF3F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" name="Tijdelijke aanduiding voor dianummer 5">
            <a:extLst>
              <a:ext uri="{FF2B5EF4-FFF2-40B4-BE49-F238E27FC236}">
                <a16:creationId xmlns:a16="http://schemas.microsoft.com/office/drawing/2014/main" id="{66CBFB83-4740-4874-AEDA-8B113FAC6D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152346-4D05-4678-A537-96475F24A1A8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023365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bject met groen k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: afgeronde hoeken 5">
            <a:extLst>
              <a:ext uri="{FF2B5EF4-FFF2-40B4-BE49-F238E27FC236}">
                <a16:creationId xmlns:a16="http://schemas.microsoft.com/office/drawing/2014/main" id="{CC77156C-8440-44C8-9EE5-CE0A97B6720B}"/>
              </a:ext>
            </a:extLst>
          </p:cNvPr>
          <p:cNvSpPr/>
          <p:nvPr/>
        </p:nvSpPr>
        <p:spPr>
          <a:xfrm>
            <a:off x="7629525" y="676277"/>
            <a:ext cx="3962400" cy="5267325"/>
          </a:xfrm>
          <a:prstGeom prst="roundRect">
            <a:avLst>
              <a:gd name="adj" fmla="val 1152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838202" y="1825627"/>
            <a:ext cx="6534149" cy="4117975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838202" y="676277"/>
            <a:ext cx="6534149" cy="101441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13" name="Tijdelijke aanduiding voor tekst 12"/>
          <p:cNvSpPr>
            <a:spLocks noGrp="1"/>
          </p:cNvSpPr>
          <p:nvPr>
            <p:ph type="body" sz="quarter" idx="14"/>
          </p:nvPr>
        </p:nvSpPr>
        <p:spPr>
          <a:xfrm>
            <a:off x="7934325" y="950913"/>
            <a:ext cx="3419473" cy="679450"/>
          </a:xfrm>
        </p:spPr>
        <p:txBody>
          <a:bodyPr anchor="ctr"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" name="Tijdelijke aanduiding voor datum 4">
            <a:extLst>
              <a:ext uri="{FF2B5EF4-FFF2-40B4-BE49-F238E27FC236}">
                <a16:creationId xmlns:a16="http://schemas.microsoft.com/office/drawing/2014/main" id="{C7346FE9-6DB4-4E34-8093-D143B644F4C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9A1C09-F2DF-4278-B0E5-607A687C658A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9" name="Tijdelijke aanduiding voor voettekst 5">
            <a:extLst>
              <a:ext uri="{FF2B5EF4-FFF2-40B4-BE49-F238E27FC236}">
                <a16:creationId xmlns:a16="http://schemas.microsoft.com/office/drawing/2014/main" id="{00F87F39-CB7D-475C-AB65-CF4414814BA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10" name="Tijdelijke aanduiding voor dianummer 6">
            <a:extLst>
              <a:ext uri="{FF2B5EF4-FFF2-40B4-BE49-F238E27FC236}">
                <a16:creationId xmlns:a16="http://schemas.microsoft.com/office/drawing/2014/main" id="{72C19EAE-8D44-4BBF-89F6-CFBFBAD5E1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C19B58-DE61-48FC-9F60-24DDF1D5E6E1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C06F1F52-0B00-4D40-99D1-29036E5355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34325" y="1825625"/>
            <a:ext cx="3419475" cy="3843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444512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el tekstvlak met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: afgeronde hoeken 4">
            <a:extLst>
              <a:ext uri="{FF2B5EF4-FFF2-40B4-BE49-F238E27FC236}">
                <a16:creationId xmlns:a16="http://schemas.microsoft.com/office/drawing/2014/main" id="{DF96B0DA-E2C4-40CF-B791-970E90E68545}"/>
              </a:ext>
            </a:extLst>
          </p:cNvPr>
          <p:cNvSpPr/>
          <p:nvPr/>
        </p:nvSpPr>
        <p:spPr>
          <a:xfrm>
            <a:off x="600076" y="365125"/>
            <a:ext cx="5419725" cy="5924550"/>
          </a:xfrm>
          <a:prstGeom prst="roundRect">
            <a:avLst>
              <a:gd name="adj" fmla="val 1152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67000" y="676277"/>
            <a:ext cx="4571999" cy="1014413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15" name="Tijdelijke aanduiding voor inhoud 14"/>
          <p:cNvSpPr>
            <a:spLocks noGrp="1"/>
          </p:cNvSpPr>
          <p:nvPr>
            <p:ph sz="quarter" idx="16"/>
          </p:nvPr>
        </p:nvSpPr>
        <p:spPr>
          <a:xfrm>
            <a:off x="6335713" y="495300"/>
            <a:ext cx="5186363" cy="54483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datum 4">
            <a:extLst>
              <a:ext uri="{FF2B5EF4-FFF2-40B4-BE49-F238E27FC236}">
                <a16:creationId xmlns:a16="http://schemas.microsoft.com/office/drawing/2014/main" id="{A6182449-88A4-4B93-B951-A475007269E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46EE31-0477-40ED-845B-30600AD098B0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7" name="Tijdelijke aanduiding voor voettekst 5">
            <a:extLst>
              <a:ext uri="{FF2B5EF4-FFF2-40B4-BE49-F238E27FC236}">
                <a16:creationId xmlns:a16="http://schemas.microsoft.com/office/drawing/2014/main" id="{6A49C2AC-0522-4F85-880A-FA227E8ABF3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ijdelijke aanduiding voor dianummer 6">
            <a:extLst>
              <a:ext uri="{FF2B5EF4-FFF2-40B4-BE49-F238E27FC236}">
                <a16:creationId xmlns:a16="http://schemas.microsoft.com/office/drawing/2014/main" id="{9C3555FA-E808-490D-81BF-619C87F6799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794CF6-5502-4A26-A212-E29BA3B3737B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5676B4AA-EB9B-41C0-AB3B-FED9D7E2C2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66999" y="1825626"/>
            <a:ext cx="4571999" cy="411797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35199863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jdelijke aanduiding voor titel 1">
            <a:extLst>
              <a:ext uri="{FF2B5EF4-FFF2-40B4-BE49-F238E27FC236}">
                <a16:creationId xmlns:a16="http://schemas.microsoft.com/office/drawing/2014/main" id="{4722753E-97CF-4250-BE57-EC4A815403C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7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nl-NL"/>
              <a:t>Klik om stijl te bewerken</a:t>
            </a:r>
          </a:p>
        </p:txBody>
      </p:sp>
      <p:sp>
        <p:nvSpPr>
          <p:cNvPr id="1027" name="Tijdelijke aanduiding voor tekst 2">
            <a:extLst>
              <a:ext uri="{FF2B5EF4-FFF2-40B4-BE49-F238E27FC236}">
                <a16:creationId xmlns:a16="http://schemas.microsoft.com/office/drawing/2014/main" id="{7DEE47BE-2A4C-4C1B-B1BE-24CF64DF70A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nl-NL"/>
              <a:t>Klikken om de tekststijl van het model te bewerken</a:t>
            </a:r>
          </a:p>
          <a:p>
            <a:pPr lvl="1"/>
            <a:r>
              <a:rPr lang="nl-NL" altLang="nl-NL"/>
              <a:t>Tweede niveau</a:t>
            </a:r>
          </a:p>
          <a:p>
            <a:pPr lvl="2"/>
            <a:r>
              <a:rPr lang="nl-NL" altLang="nl-NL"/>
              <a:t>Derde niveau</a:t>
            </a:r>
          </a:p>
          <a:p>
            <a:pPr lvl="3"/>
            <a:r>
              <a:rPr lang="nl-NL" altLang="nl-NL"/>
              <a:t>Vierde niveau</a:t>
            </a:r>
          </a:p>
          <a:p>
            <a:pPr lvl="4"/>
            <a:r>
              <a:rPr lang="nl-NL" alt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344319F-AB30-403E-8156-3B9BF094C78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6D9BDAFB-9F48-4B09-9DCB-038995744DC3}" type="datetimeFigureOut">
              <a:rPr lang="nl-NL"/>
              <a:pPr>
                <a:defRPr/>
              </a:pPr>
              <a:t>5-9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6733B44B-C269-41FC-B51E-2B26D94DCB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257CC41B-C4F5-445C-B7A4-8F22A53674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2953F3D-FED3-48B5-99C0-A4A4F33BB4DB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pic>
        <p:nvPicPr>
          <p:cNvPr id="1031" name="Afbeelding 6">
            <a:extLst>
              <a:ext uri="{FF2B5EF4-FFF2-40B4-BE49-F238E27FC236}">
                <a16:creationId xmlns:a16="http://schemas.microsoft.com/office/drawing/2014/main" id="{A4EB6448-FD42-4BF5-A255-FEC55FAF31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91926" y="6356352"/>
            <a:ext cx="438151" cy="32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1" r:id="rId2"/>
    <p:sldLayoutId id="2147483690" r:id="rId3"/>
    <p:sldLayoutId id="2147483692" r:id="rId4"/>
    <p:sldLayoutId id="2147483714" r:id="rId5"/>
    <p:sldLayoutId id="2147483693" r:id="rId6"/>
    <p:sldLayoutId id="2147483694" r:id="rId7"/>
    <p:sldLayoutId id="2147483699" r:id="rId8"/>
    <p:sldLayoutId id="2147483702" r:id="rId9"/>
    <p:sldLayoutId id="2147483712" r:id="rId10"/>
    <p:sldLayoutId id="2147483703" r:id="rId11"/>
    <p:sldLayoutId id="2147483701" r:id="rId12"/>
    <p:sldLayoutId id="2147483704" r:id="rId13"/>
    <p:sldLayoutId id="2147483713" r:id="rId14"/>
    <p:sldLayoutId id="2147483705" r:id="rId15"/>
    <p:sldLayoutId id="2147483700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696" r:id="rId22"/>
    <p:sldLayoutId id="2147483697" r:id="rId2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 kern="1200">
          <a:solidFill>
            <a:schemeClr val="tx1"/>
          </a:solidFill>
          <a:latin typeface="+mj-lt"/>
          <a:ea typeface="Verdana" panose="020B0604030504040204" pitchFamily="34" charset="0"/>
          <a:cs typeface="Tahoma" panose="020B060403050404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 Bold"/>
          <a:ea typeface="Verdana" panose="020B0604030504040204" pitchFamily="34" charset="0"/>
          <a:cs typeface="Tahoma" panose="020B060403050404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 Bold"/>
          <a:ea typeface="Verdana" panose="020B0604030504040204" pitchFamily="34" charset="0"/>
          <a:cs typeface="Tahoma" panose="020B060403050404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 Bold"/>
          <a:ea typeface="Verdana" panose="020B0604030504040204" pitchFamily="34" charset="0"/>
          <a:cs typeface="Tahoma" panose="020B060403050404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 Bold"/>
          <a:ea typeface="Verdana" panose="020B0604030504040204" pitchFamily="34" charset="0"/>
          <a:cs typeface="Tahoma" panose="020B0604030504040204" pitchFamily="34" charset="0"/>
        </a:defRPr>
      </a:lvl5pPr>
      <a:lvl6pPr marL="45718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 Bold"/>
          <a:ea typeface="Verdana" panose="020B0604030504040204" pitchFamily="34" charset="0"/>
          <a:cs typeface="Tahoma" panose="020B0604030504040204" pitchFamily="34" charset="0"/>
        </a:defRPr>
      </a:lvl6pPr>
      <a:lvl7pPr marL="91437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 Bold"/>
          <a:ea typeface="Verdana" panose="020B0604030504040204" pitchFamily="34" charset="0"/>
          <a:cs typeface="Tahoma" panose="020B0604030504040204" pitchFamily="34" charset="0"/>
        </a:defRPr>
      </a:lvl7pPr>
      <a:lvl8pPr marL="137156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 Bold"/>
          <a:ea typeface="Verdana" panose="020B0604030504040204" pitchFamily="34" charset="0"/>
          <a:cs typeface="Tahoma" panose="020B0604030504040204" pitchFamily="34" charset="0"/>
        </a:defRPr>
      </a:lvl8pPr>
      <a:lvl9pPr marL="182875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 Bold"/>
          <a:ea typeface="Verdana" panose="020B0604030504040204" pitchFamily="34" charset="0"/>
          <a:cs typeface="Tahoma" panose="020B0604030504040204" pitchFamily="34" charset="0"/>
        </a:defRPr>
      </a:lvl9pPr>
    </p:titleStyle>
    <p:bodyStyle>
      <a:lvl1pPr marL="228594" indent="-228594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chart" Target="../charts/chart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10.sv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9A384BDF-7866-8675-AE1B-B4F77FC663A6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 anchor="ctr"/>
          <a:lstStyle/>
          <a:p>
            <a:pPr marL="0" indent="0" algn="ctr">
              <a:buNone/>
            </a:pPr>
            <a:r>
              <a:rPr lang="nl-NL" sz="7200" dirty="0">
                <a:latin typeface="Another shabby" panose="02000503000000020003" pitchFamily="2" charset="0"/>
              </a:rPr>
              <a:t>Suïcidaliteit</a:t>
            </a:r>
            <a:r>
              <a:rPr lang="nl-NL" sz="7200" dirty="0"/>
              <a:t> </a:t>
            </a:r>
            <a:br>
              <a:rPr lang="nl-NL" sz="6000" dirty="0"/>
            </a:br>
            <a:r>
              <a:rPr lang="nl-NL" sz="6000" dirty="0">
                <a:latin typeface="Avenir Next LT Pro Demi" panose="020B0704020202020204" pitchFamily="34" charset="0"/>
              </a:rPr>
              <a:t>onder jongvolwassenen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06E4C113-EB28-A7B6-31F0-154609754EE1}"/>
              </a:ext>
            </a:extLst>
          </p:cNvPr>
          <p:cNvSpPr txBox="1"/>
          <p:nvPr/>
        </p:nvSpPr>
        <p:spPr>
          <a:xfrm>
            <a:off x="8466667" y="6214533"/>
            <a:ext cx="29978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>
                <a:latin typeface="Avenir Next LT Pro" panose="020B0504020202020204" pitchFamily="34" charset="0"/>
              </a:rPr>
              <a:t>Feiten en Cijfers</a:t>
            </a:r>
          </a:p>
        </p:txBody>
      </p:sp>
    </p:spTree>
    <p:extLst>
      <p:ext uri="{BB962C8B-B14F-4D97-AF65-F5344CB8AC3E}">
        <p14:creationId xmlns:p14="http://schemas.microsoft.com/office/powerpoint/2010/main" val="6579818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ep 16">
            <a:extLst>
              <a:ext uri="{FF2B5EF4-FFF2-40B4-BE49-F238E27FC236}">
                <a16:creationId xmlns:a16="http://schemas.microsoft.com/office/drawing/2014/main" id="{9C3796DF-E819-CD27-55EB-D14E9BF58E64}"/>
              </a:ext>
            </a:extLst>
          </p:cNvPr>
          <p:cNvGrpSpPr/>
          <p:nvPr/>
        </p:nvGrpSpPr>
        <p:grpSpPr>
          <a:xfrm>
            <a:off x="6822831" y="889808"/>
            <a:ext cx="4588584" cy="5040603"/>
            <a:chOff x="978333" y="5077825"/>
            <a:chExt cx="11270764" cy="1325563"/>
          </a:xfrm>
        </p:grpSpPr>
        <p:sp>
          <p:nvSpPr>
            <p:cNvPr id="19" name="Rechthoek: afgeronde hoeken 4">
              <a:extLst>
                <a:ext uri="{FF2B5EF4-FFF2-40B4-BE49-F238E27FC236}">
                  <a16:creationId xmlns:a16="http://schemas.microsoft.com/office/drawing/2014/main" id="{D7FA16D2-2DFF-A485-1F56-259C5D80C907}"/>
                </a:ext>
              </a:extLst>
            </p:cNvPr>
            <p:cNvSpPr/>
            <p:nvPr/>
          </p:nvSpPr>
          <p:spPr>
            <a:xfrm>
              <a:off x="978333" y="5077825"/>
              <a:ext cx="11270764" cy="1325563"/>
            </a:xfrm>
            <a:prstGeom prst="roundRect">
              <a:avLst>
                <a:gd name="adj" fmla="val 11523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l-NL"/>
            </a:p>
          </p:txBody>
        </p:sp>
        <p:sp>
          <p:nvSpPr>
            <p:cNvPr id="20" name="Titel 1">
              <a:extLst>
                <a:ext uri="{FF2B5EF4-FFF2-40B4-BE49-F238E27FC236}">
                  <a16:creationId xmlns:a16="http://schemas.microsoft.com/office/drawing/2014/main" id="{F941DBFA-F050-E0F0-BADE-4E3AB7EAEA6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78333" y="5280967"/>
              <a:ext cx="11270764" cy="9454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800" b="1" kern="1200">
                  <a:solidFill>
                    <a:schemeClr val="tx1"/>
                  </a:solidFill>
                  <a:latin typeface="+mj-lt"/>
                  <a:ea typeface="Verdana" panose="020B0604030504040204" pitchFamily="34" charset="0"/>
                  <a:cs typeface="Tahoma" panose="020B0604030504040204" pitchFamily="34" charset="0"/>
                </a:defRPr>
              </a:lvl1pPr>
              <a:lvl2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2pPr>
              <a:lvl3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3pPr>
              <a:lvl4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4pPr>
              <a:lvl5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5pPr>
              <a:lvl6pPr marL="457189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6pPr>
              <a:lvl7pPr marL="914377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7pPr>
              <a:lvl8pPr marL="1371566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8pPr>
              <a:lvl9pPr marL="1828754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9pPr>
            </a:lstStyle>
            <a:p>
              <a:pPr algn="ctr"/>
              <a:r>
                <a:rPr lang="nl-NL" sz="4000" b="1" dirty="0">
                  <a:latin typeface="Avenir Next LT Pro" panose="020B0504020202020204" pitchFamily="34" charset="0"/>
                </a:rPr>
                <a:t>Waarom overlijden zoveel jongvolwassenen door zelfdoding?</a:t>
              </a:r>
              <a:br>
                <a:rPr lang="nl-NL" sz="4000" b="1" dirty="0">
                  <a:latin typeface="Avenir Next LT Pro" panose="020B0504020202020204" pitchFamily="34" charset="0"/>
                </a:rPr>
              </a:br>
              <a:endParaRPr lang="nl-NL" sz="4000" b="0" dirty="0">
                <a:latin typeface="Avenir Next LT Pro" panose="020B0504020202020204" pitchFamily="34" charset="0"/>
              </a:endParaRPr>
            </a:p>
          </p:txBody>
        </p:sp>
      </p:grpSp>
      <p:pic>
        <p:nvPicPr>
          <p:cNvPr id="5" name="Afbeelding 4">
            <a:extLst>
              <a:ext uri="{FF2B5EF4-FFF2-40B4-BE49-F238E27FC236}">
                <a16:creationId xmlns:a16="http://schemas.microsoft.com/office/drawing/2014/main" id="{F4F3E419-272A-5666-4DDD-193C0DC534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146" y="1480560"/>
            <a:ext cx="6347731" cy="3594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9301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D3D7232-F8F5-4AFE-A153-23B765A599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D7232-F8F5-4AFE-A153-23B765A599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Grafiek 1">
            <a:extLst>
              <a:ext uri="{FF2B5EF4-FFF2-40B4-BE49-F238E27FC236}">
                <a16:creationId xmlns:a16="http://schemas.microsoft.com/office/drawing/2014/main" id="{3AD5A8DC-1160-CE23-10B4-3AC953133E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8518868"/>
              </p:ext>
            </p:extLst>
          </p:nvPr>
        </p:nvGraphicFramePr>
        <p:xfrm>
          <a:off x="1113974" y="1429221"/>
          <a:ext cx="5956861" cy="4283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21" name="Groep 20">
            <a:extLst>
              <a:ext uri="{FF2B5EF4-FFF2-40B4-BE49-F238E27FC236}">
                <a16:creationId xmlns:a16="http://schemas.microsoft.com/office/drawing/2014/main" id="{D5489D66-1F9D-ECDB-A7F6-C016441A39B3}"/>
              </a:ext>
            </a:extLst>
          </p:cNvPr>
          <p:cNvGrpSpPr/>
          <p:nvPr/>
        </p:nvGrpSpPr>
        <p:grpSpPr>
          <a:xfrm>
            <a:off x="349713" y="423854"/>
            <a:ext cx="11230135" cy="839412"/>
            <a:chOff x="-186266" y="318591"/>
            <a:chExt cx="12615334" cy="817325"/>
          </a:xfrm>
        </p:grpSpPr>
        <p:sp>
          <p:nvSpPr>
            <p:cNvPr id="13" name="Rechthoek: afgeronde hoeken 4">
              <a:extLst>
                <a:ext uri="{FF2B5EF4-FFF2-40B4-BE49-F238E27FC236}">
                  <a16:creationId xmlns:a16="http://schemas.microsoft.com/office/drawing/2014/main" id="{2B100719-D12E-30F0-BD06-423C73646C50}"/>
                </a:ext>
              </a:extLst>
            </p:cNvPr>
            <p:cNvSpPr/>
            <p:nvPr/>
          </p:nvSpPr>
          <p:spPr>
            <a:xfrm>
              <a:off x="-186266" y="318591"/>
              <a:ext cx="12615334" cy="817325"/>
            </a:xfrm>
            <a:prstGeom prst="roundRect">
              <a:avLst>
                <a:gd name="adj" fmla="val 11523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l-NL"/>
            </a:p>
          </p:txBody>
        </p:sp>
        <p:sp>
          <p:nvSpPr>
            <p:cNvPr id="16" name="Titel 1">
              <a:extLst>
                <a:ext uri="{FF2B5EF4-FFF2-40B4-BE49-F238E27FC236}">
                  <a16:creationId xmlns:a16="http://schemas.microsoft.com/office/drawing/2014/main" id="{5525A046-AEBC-5487-2618-E03F9ABFDDF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59939" y="345275"/>
              <a:ext cx="10743868" cy="770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800" b="1" kern="1200">
                  <a:solidFill>
                    <a:schemeClr val="tx1"/>
                  </a:solidFill>
                  <a:latin typeface="+mj-lt"/>
                  <a:ea typeface="Verdana" panose="020B0604030504040204" pitchFamily="34" charset="0"/>
                  <a:cs typeface="Tahoma" panose="020B0604030504040204" pitchFamily="34" charset="0"/>
                </a:defRPr>
              </a:lvl1pPr>
              <a:lvl2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2pPr>
              <a:lvl3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3pPr>
              <a:lvl4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4pPr>
              <a:lvl5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5pPr>
              <a:lvl6pPr marL="457189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6pPr>
              <a:lvl7pPr marL="914377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7pPr>
              <a:lvl8pPr marL="1371566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8pPr>
              <a:lvl9pPr marL="1828754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9pPr>
            </a:lstStyle>
            <a:p>
              <a:pPr algn="ctr"/>
              <a:r>
                <a:rPr lang="nl-NL" dirty="0">
                  <a:latin typeface="Avenir Next LT Pro" panose="020B0504020202020204" pitchFamily="34" charset="0"/>
                </a:rPr>
                <a:t>Sterke stijging zelfdoding onder jongvolwassenen                      in laatste 20 jaar </a:t>
              </a:r>
              <a:r>
                <a:rPr lang="nl-NL" b="0" dirty="0">
                  <a:latin typeface="Avenir Next LT Pro" panose="020B0504020202020204" pitchFamily="34" charset="0"/>
                  <a:cs typeface="Arial" panose="020B0604020202020204" pitchFamily="34" charset="0"/>
                </a:rPr>
                <a:t> </a:t>
              </a:r>
              <a:endParaRPr lang="nl-NL" b="0" dirty="0">
                <a:latin typeface="Avenir Next LT Pro" panose="020B0504020202020204" pitchFamily="34" charset="0"/>
              </a:endParaRPr>
            </a:p>
          </p:txBody>
        </p:sp>
      </p:grpSp>
      <p:sp>
        <p:nvSpPr>
          <p:cNvPr id="19" name="Tekstvak 18">
            <a:extLst>
              <a:ext uri="{FF2B5EF4-FFF2-40B4-BE49-F238E27FC236}">
                <a16:creationId xmlns:a16="http://schemas.microsoft.com/office/drawing/2014/main" id="{5383BB22-665E-A7AD-7DA5-AF5BE7805148}"/>
              </a:ext>
            </a:extLst>
          </p:cNvPr>
          <p:cNvSpPr txBox="1"/>
          <p:nvPr/>
        </p:nvSpPr>
        <p:spPr>
          <a:xfrm>
            <a:off x="7766221" y="3007558"/>
            <a:ext cx="3213946" cy="1261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600" dirty="0">
                <a:solidFill>
                  <a:srgbClr val="040001"/>
                </a:solidFill>
                <a:latin typeface="+mn-lt"/>
                <a:cs typeface="Calibri"/>
              </a:rPr>
              <a:t> </a:t>
            </a: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040001"/>
              </a:solidFill>
              <a:effectLst/>
              <a:uLnTx/>
              <a:uFillTx/>
              <a:latin typeface="+mn-lt"/>
              <a:cs typeface="Calibri"/>
            </a:endParaRPr>
          </a:p>
          <a:p>
            <a:r>
              <a:rPr kumimoji="0" lang="nl-NL" sz="6000" b="0" i="0" u="none" strike="noStrike" kern="1200" cap="none" spc="0" normalizeH="0" baseline="0" noProof="0" dirty="0">
                <a:ln>
                  <a:noFill/>
                </a:ln>
                <a:solidFill>
                  <a:srgbClr val="040001"/>
                </a:solidFill>
                <a:effectLst/>
                <a:uLnTx/>
                <a:uFillTx/>
                <a:latin typeface="Avenir Next LT Pro" panose="020B0504020202020204" pitchFamily="34" charset="0"/>
                <a:cs typeface="Calibri"/>
              </a:rPr>
              <a:t>26%</a:t>
            </a:r>
            <a:endParaRPr lang="en-GB" sz="6000" dirty="0">
              <a:latin typeface="Avenir Next LT Pro" panose="020B0504020202020204" pitchFamily="34" charset="0"/>
            </a:endParaRPr>
          </a:p>
        </p:txBody>
      </p:sp>
      <p:sp>
        <p:nvSpPr>
          <p:cNvPr id="20" name="Pijl: omhoog 19">
            <a:extLst>
              <a:ext uri="{FF2B5EF4-FFF2-40B4-BE49-F238E27FC236}">
                <a16:creationId xmlns:a16="http://schemas.microsoft.com/office/drawing/2014/main" id="{61B23261-8F1C-43C3-9357-7B44F27B3826}"/>
              </a:ext>
            </a:extLst>
          </p:cNvPr>
          <p:cNvSpPr/>
          <p:nvPr/>
        </p:nvSpPr>
        <p:spPr>
          <a:xfrm>
            <a:off x="9296994" y="3244875"/>
            <a:ext cx="756896" cy="787250"/>
          </a:xfrm>
          <a:prstGeom prst="upArrow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ekstvak 21">
            <a:extLst>
              <a:ext uri="{FF2B5EF4-FFF2-40B4-BE49-F238E27FC236}">
                <a16:creationId xmlns:a16="http://schemas.microsoft.com/office/drawing/2014/main" id="{B89F97CF-BCF2-A06B-E40F-1AA6C48B6E83}"/>
              </a:ext>
            </a:extLst>
          </p:cNvPr>
          <p:cNvSpPr txBox="1"/>
          <p:nvPr/>
        </p:nvSpPr>
        <p:spPr>
          <a:xfrm>
            <a:off x="1211833" y="5590995"/>
            <a:ext cx="628565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600" dirty="0">
                <a:solidFill>
                  <a:srgbClr val="040001"/>
                </a:solidFill>
                <a:latin typeface="+mn-lt"/>
                <a:cs typeface="Calibri"/>
              </a:rPr>
              <a:t> </a:t>
            </a: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040001"/>
              </a:solidFill>
              <a:effectLst/>
              <a:uLnTx/>
              <a:uFillTx/>
              <a:latin typeface="+mn-lt"/>
              <a:cs typeface="Calibri"/>
            </a:endParaRPr>
          </a:p>
          <a:p>
            <a:r>
              <a:rPr lang="nl-NL" sz="2400" dirty="0">
                <a:solidFill>
                  <a:srgbClr val="040001"/>
                </a:solidFill>
                <a:latin typeface="Avenir Next LT Pro" panose="020B0504020202020204" pitchFamily="34" charset="0"/>
                <a:cs typeface="Calibri"/>
              </a:rPr>
              <a:t>CBS 2024</a:t>
            </a:r>
            <a:endParaRPr lang="en-GB" sz="2400" dirty="0">
              <a:solidFill>
                <a:srgbClr val="040001"/>
              </a:solidFill>
              <a:latin typeface="Avenir Next LT Pro" panose="020B0504020202020204" pitchFamily="34" charset="0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276241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D3D7232-F8F5-4AFE-A153-23B765A599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D7232-F8F5-4AFE-A153-23B765A599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ep 6">
            <a:extLst>
              <a:ext uri="{FF2B5EF4-FFF2-40B4-BE49-F238E27FC236}">
                <a16:creationId xmlns:a16="http://schemas.microsoft.com/office/drawing/2014/main" id="{DAD23E91-532A-B839-F53A-60BF7FF6AC7A}"/>
              </a:ext>
            </a:extLst>
          </p:cNvPr>
          <p:cNvGrpSpPr/>
          <p:nvPr/>
        </p:nvGrpSpPr>
        <p:grpSpPr>
          <a:xfrm>
            <a:off x="427891" y="348496"/>
            <a:ext cx="10858501" cy="817325"/>
            <a:chOff x="-186266" y="318591"/>
            <a:chExt cx="12615334" cy="817325"/>
          </a:xfrm>
        </p:grpSpPr>
        <p:sp>
          <p:nvSpPr>
            <p:cNvPr id="13" name="Rechthoek: afgeronde hoeken 4">
              <a:extLst>
                <a:ext uri="{FF2B5EF4-FFF2-40B4-BE49-F238E27FC236}">
                  <a16:creationId xmlns:a16="http://schemas.microsoft.com/office/drawing/2014/main" id="{2B100719-D12E-30F0-BD06-423C73646C50}"/>
                </a:ext>
              </a:extLst>
            </p:cNvPr>
            <p:cNvSpPr/>
            <p:nvPr/>
          </p:nvSpPr>
          <p:spPr>
            <a:xfrm>
              <a:off x="-186266" y="318591"/>
              <a:ext cx="12615334" cy="817325"/>
            </a:xfrm>
            <a:prstGeom prst="roundRect">
              <a:avLst>
                <a:gd name="adj" fmla="val 11523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l-NL"/>
            </a:p>
          </p:txBody>
        </p:sp>
        <p:sp>
          <p:nvSpPr>
            <p:cNvPr id="16" name="Titel 1">
              <a:extLst>
                <a:ext uri="{FF2B5EF4-FFF2-40B4-BE49-F238E27FC236}">
                  <a16:creationId xmlns:a16="http://schemas.microsoft.com/office/drawing/2014/main" id="{5525A046-AEBC-5487-2618-E03F9ABFDDF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59939" y="345275"/>
              <a:ext cx="11024061" cy="770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800" b="1" kern="1200">
                  <a:solidFill>
                    <a:schemeClr val="tx1"/>
                  </a:solidFill>
                  <a:latin typeface="+mj-lt"/>
                  <a:ea typeface="Verdana" panose="020B0604030504040204" pitchFamily="34" charset="0"/>
                  <a:cs typeface="Tahoma" panose="020B0604030504040204" pitchFamily="34" charset="0"/>
                </a:defRPr>
              </a:lvl1pPr>
              <a:lvl2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2pPr>
              <a:lvl3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3pPr>
              <a:lvl4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4pPr>
              <a:lvl5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5pPr>
              <a:lvl6pPr marL="457189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6pPr>
              <a:lvl7pPr marL="914377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7pPr>
              <a:lvl8pPr marL="1371566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8pPr>
              <a:lvl9pPr marL="1828754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9pPr>
            </a:lstStyle>
            <a:p>
              <a:pPr algn="ctr"/>
              <a:r>
                <a:rPr lang="nl-NL" dirty="0">
                  <a:latin typeface="Avenir Next LT Pro" panose="020B0504020202020204" pitchFamily="34" charset="0"/>
                </a:rPr>
                <a:t>Mentale gezondheid jongvolwassenen gaat wereldwijd sterk achteruit</a:t>
              </a:r>
              <a:endParaRPr lang="nl-NL" b="0" dirty="0">
                <a:latin typeface="Avenir Next LT Pro" panose="020B0504020202020204" pitchFamily="34" charset="0"/>
              </a:endParaRPr>
            </a:p>
          </p:txBody>
        </p:sp>
      </p:grpSp>
      <p:pic>
        <p:nvPicPr>
          <p:cNvPr id="4" name="Afbeelding 3" descr="Afbeelding met tekst, schermopname, diagram, Perceel&#10;&#10;Automatisch gegenereerde beschrijving">
            <a:extLst>
              <a:ext uri="{FF2B5EF4-FFF2-40B4-BE49-F238E27FC236}">
                <a16:creationId xmlns:a16="http://schemas.microsoft.com/office/drawing/2014/main" id="{36D6FE43-FAC4-8A29-1DF5-4CECBDD7B3F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1976" y="1375351"/>
            <a:ext cx="7590329" cy="4021742"/>
          </a:xfrm>
          <a:prstGeom prst="rect">
            <a:avLst/>
          </a:prstGeom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id="{C87C4D40-D89B-096B-79F0-7E90FABB53E3}"/>
              </a:ext>
            </a:extLst>
          </p:cNvPr>
          <p:cNvSpPr txBox="1"/>
          <p:nvPr/>
        </p:nvSpPr>
        <p:spPr>
          <a:xfrm>
            <a:off x="994327" y="5606623"/>
            <a:ext cx="628565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600" dirty="0">
                <a:solidFill>
                  <a:srgbClr val="040001"/>
                </a:solidFill>
                <a:latin typeface="+mn-lt"/>
                <a:cs typeface="Calibri"/>
              </a:rPr>
              <a:t> </a:t>
            </a: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040001"/>
              </a:solidFill>
              <a:effectLst/>
              <a:uLnTx/>
              <a:uFillTx/>
              <a:latin typeface="+mn-lt"/>
              <a:cs typeface="Calibri"/>
            </a:endParaRPr>
          </a:p>
          <a:p>
            <a:r>
              <a:rPr kumimoji="0" lang="nl-NL" sz="2400" b="0" i="0" u="none" strike="noStrike" kern="1200" cap="none" spc="0" normalizeH="0" baseline="0" noProof="0" dirty="0">
                <a:ln>
                  <a:noFill/>
                </a:ln>
                <a:solidFill>
                  <a:srgbClr val="040001"/>
                </a:solidFill>
                <a:effectLst/>
                <a:uLnTx/>
                <a:uFillTx/>
                <a:latin typeface="Avenir Next LT Pro" panose="020B0504020202020204" pitchFamily="34" charset="0"/>
                <a:cs typeface="Calibri"/>
              </a:rPr>
              <a:t>The Lancet Psychiatry </a:t>
            </a:r>
            <a:r>
              <a:rPr lang="nl-NL" sz="2400" dirty="0">
                <a:solidFill>
                  <a:srgbClr val="040001"/>
                </a:solidFill>
                <a:latin typeface="Avenir Next LT Pro" panose="020B0504020202020204" pitchFamily="34" charset="0"/>
                <a:cs typeface="Calibri"/>
              </a:rPr>
              <a:t>2024</a:t>
            </a:r>
            <a:endParaRPr lang="en-GB" sz="2400" dirty="0"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53702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6E581B0-958F-AF1D-0560-BF5F044BE0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dirty="0">
                <a:solidFill>
                  <a:srgbClr val="000000"/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De overgang van puberteit naar volwassenheid is uitdagend </a:t>
            </a:r>
            <a:br>
              <a:rPr kumimoji="0" lang="nl-NL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cs typeface="Arial" panose="020B0604020202020204" pitchFamily="34" charset="0"/>
              </a:rPr>
            </a:br>
            <a:endParaRPr lang="en-GB" dirty="0"/>
          </a:p>
        </p:txBody>
      </p:sp>
      <p:pic>
        <p:nvPicPr>
          <p:cNvPr id="9" name="Tijdelijke aanduiding voor afbeelding 8" descr="Afbeelding met kleding, persoon, schoeisel, buitenshuis&#10;&#10;Automatisch gegenereerde beschrijving">
            <a:extLst>
              <a:ext uri="{FF2B5EF4-FFF2-40B4-BE49-F238E27FC236}">
                <a16:creationId xmlns:a16="http://schemas.microsoft.com/office/drawing/2014/main" id="{D164ED09-24C7-C658-A4C2-C06418701C9E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2">
            <a:alphaModFix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4263" y="1794428"/>
            <a:ext cx="5808906" cy="3269144"/>
          </a:xfrm>
        </p:spPr>
      </p:pic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903A60E3-7C9D-4092-D002-9E123DA6D70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nl-NL" dirty="0">
                <a:latin typeface="Avenir Next LT Pro" panose="020B0504020202020204" pitchFamily="34" charset="0"/>
              </a:rPr>
              <a:t>Ontwikkeling hersenen</a:t>
            </a:r>
          </a:p>
          <a:p>
            <a:r>
              <a:rPr lang="nl-NL" dirty="0">
                <a:latin typeface="Avenir Next LT Pro" panose="020B0504020202020204" pitchFamily="34" charset="0"/>
              </a:rPr>
              <a:t>Ontwikkeling zelfbeeld</a:t>
            </a:r>
          </a:p>
          <a:p>
            <a:r>
              <a:rPr lang="nl-NL" dirty="0">
                <a:latin typeface="Avenir Next LT Pro" panose="020B0504020202020204" pitchFamily="34" charset="0"/>
              </a:rPr>
              <a:t>Losmaking ouders/verzorgers</a:t>
            </a:r>
          </a:p>
          <a:p>
            <a:r>
              <a:rPr lang="nl-NL" dirty="0">
                <a:latin typeface="Avenir Next LT Pro" panose="020B0504020202020204" pitchFamily="34" charset="0"/>
              </a:rPr>
              <a:t>Academische druk</a:t>
            </a:r>
          </a:p>
          <a:p>
            <a:r>
              <a:rPr lang="nl-NL" dirty="0">
                <a:latin typeface="Avenir Next LT Pro" panose="020B0504020202020204" pitchFamily="34" charset="0"/>
              </a:rPr>
              <a:t>Sociale verwachtingen</a:t>
            </a:r>
          </a:p>
          <a:p>
            <a:r>
              <a:rPr lang="nl-NL" dirty="0">
                <a:latin typeface="Avenir Next LT Pro" panose="020B0504020202020204" pitchFamily="34" charset="0"/>
              </a:rPr>
              <a:t>Keuze baan, intieme relaties</a:t>
            </a:r>
          </a:p>
          <a:p>
            <a:r>
              <a:rPr lang="nl-NL" dirty="0">
                <a:latin typeface="Avenir Next LT Pro" panose="020B0504020202020204" pitchFamily="34" charset="0"/>
              </a:rPr>
              <a:t>Financiële onzekerheid</a:t>
            </a:r>
          </a:p>
          <a:p>
            <a:r>
              <a:rPr lang="nl-NL" dirty="0">
                <a:latin typeface="Avenir Next LT Pro" panose="020B0504020202020204" pitchFamily="34" charset="0"/>
              </a:rPr>
              <a:t>Maatschappelijke trends</a:t>
            </a:r>
          </a:p>
          <a:p>
            <a:endParaRPr kumimoji="0" lang="nl-NL" sz="24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venir Next LT Pro" panose="020B0504020202020204" pitchFamily="34" charset="0"/>
              <a:cs typeface="Calibri"/>
            </a:endParaRP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B828DA07-5977-C390-952B-6593F46D8504}"/>
              </a:ext>
            </a:extLst>
          </p:cNvPr>
          <p:cNvSpPr txBox="1"/>
          <p:nvPr/>
        </p:nvSpPr>
        <p:spPr>
          <a:xfrm>
            <a:off x="866775" y="5772783"/>
            <a:ext cx="6096000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NL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cs typeface="Calibri"/>
              </a:rPr>
              <a:t>The Lancet Psychiatry 2024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cs typeface="Helvetica" panose="020B0604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98973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D3D7232-F8F5-4AFE-A153-23B765A599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D7232-F8F5-4AFE-A153-23B765A599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ep 20">
            <a:extLst>
              <a:ext uri="{FF2B5EF4-FFF2-40B4-BE49-F238E27FC236}">
                <a16:creationId xmlns:a16="http://schemas.microsoft.com/office/drawing/2014/main" id="{D5489D66-1F9D-ECDB-A7F6-C016441A39B3}"/>
              </a:ext>
            </a:extLst>
          </p:cNvPr>
          <p:cNvGrpSpPr/>
          <p:nvPr/>
        </p:nvGrpSpPr>
        <p:grpSpPr>
          <a:xfrm>
            <a:off x="504576" y="360070"/>
            <a:ext cx="11182847" cy="824613"/>
            <a:chOff x="-186266" y="318591"/>
            <a:chExt cx="12615334" cy="824613"/>
          </a:xfrm>
        </p:grpSpPr>
        <p:sp>
          <p:nvSpPr>
            <p:cNvPr id="13" name="Rechthoek: afgeronde hoeken 4">
              <a:extLst>
                <a:ext uri="{FF2B5EF4-FFF2-40B4-BE49-F238E27FC236}">
                  <a16:creationId xmlns:a16="http://schemas.microsoft.com/office/drawing/2014/main" id="{2B100719-D12E-30F0-BD06-423C73646C50}"/>
                </a:ext>
              </a:extLst>
            </p:cNvPr>
            <p:cNvSpPr/>
            <p:nvPr/>
          </p:nvSpPr>
          <p:spPr>
            <a:xfrm>
              <a:off x="-186266" y="318591"/>
              <a:ext cx="12615334" cy="817325"/>
            </a:xfrm>
            <a:prstGeom prst="roundRect">
              <a:avLst>
                <a:gd name="adj" fmla="val 11523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l-NL"/>
            </a:p>
          </p:txBody>
        </p:sp>
        <p:sp>
          <p:nvSpPr>
            <p:cNvPr id="16" name="Titel 1">
              <a:extLst>
                <a:ext uri="{FF2B5EF4-FFF2-40B4-BE49-F238E27FC236}">
                  <a16:creationId xmlns:a16="http://schemas.microsoft.com/office/drawing/2014/main" id="{5525A046-AEBC-5487-2618-E03F9ABFDDF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66357" y="372641"/>
              <a:ext cx="11710086" cy="770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800" b="1" kern="1200">
                  <a:solidFill>
                    <a:schemeClr val="tx1"/>
                  </a:solidFill>
                  <a:latin typeface="+mj-lt"/>
                  <a:ea typeface="Verdana" panose="020B0604030504040204" pitchFamily="34" charset="0"/>
                  <a:cs typeface="Tahoma" panose="020B0604030504040204" pitchFamily="34" charset="0"/>
                </a:defRPr>
              </a:lvl1pPr>
              <a:lvl2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2pPr>
              <a:lvl3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3pPr>
              <a:lvl4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4pPr>
              <a:lvl5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5pPr>
              <a:lvl6pPr marL="457189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6pPr>
              <a:lvl7pPr marL="914377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7pPr>
              <a:lvl8pPr marL="1371566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8pPr>
              <a:lvl9pPr marL="1828754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9pPr>
            </a:lstStyle>
            <a:p>
              <a:pPr algn="ctr"/>
              <a:r>
                <a:rPr lang="nl-NL" dirty="0">
                  <a:latin typeface="Avenir Next LT Pro" panose="020B0504020202020204" pitchFamily="34" charset="0"/>
                </a:rPr>
                <a:t>Verschillen tussen jonge mannen en jonge vrouwen           in aanleiding tot zelfdoding  </a:t>
              </a:r>
              <a:endParaRPr lang="nl-NL" b="0" dirty="0">
                <a:latin typeface="Avenir Next LT Pro" panose="020B0504020202020204" pitchFamily="34" charset="0"/>
              </a:endParaRPr>
            </a:p>
          </p:txBody>
        </p:sp>
      </p:grpSp>
      <p:pic>
        <p:nvPicPr>
          <p:cNvPr id="3" name="Graphic 2" descr="Vrouw met paardenstaart">
            <a:extLst>
              <a:ext uri="{FF2B5EF4-FFF2-40B4-BE49-F238E27FC236}">
                <a16:creationId xmlns:a16="http://schemas.microsoft.com/office/drawing/2014/main" id="{4BCBBE07-B892-7151-BD5D-A5B320FB8BF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18019" y="1629579"/>
            <a:ext cx="2310798" cy="3484537"/>
          </a:xfrm>
          <a:prstGeom prst="rect">
            <a:avLst/>
          </a:prstGeom>
        </p:spPr>
      </p:pic>
      <p:pic>
        <p:nvPicPr>
          <p:cNvPr id="4" name="Graphic 3" descr="Man met een jas">
            <a:extLst>
              <a:ext uri="{FF2B5EF4-FFF2-40B4-BE49-F238E27FC236}">
                <a16:creationId xmlns:a16="http://schemas.microsoft.com/office/drawing/2014/main" id="{625681AF-1B26-CAFD-EF82-FD493ACEC93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262840" y="1659483"/>
            <a:ext cx="2426487" cy="3489183"/>
          </a:xfrm>
          <a:prstGeom prst="rect">
            <a:avLst/>
          </a:prstGeom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id="{6FD33820-C13A-044B-0AA0-47E4A13D4086}"/>
              </a:ext>
            </a:extLst>
          </p:cNvPr>
          <p:cNvSpPr txBox="1"/>
          <p:nvPr/>
        </p:nvSpPr>
        <p:spPr>
          <a:xfrm>
            <a:off x="1246545" y="5285657"/>
            <a:ext cx="654336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600" dirty="0">
                <a:solidFill>
                  <a:srgbClr val="040001"/>
                </a:solidFill>
                <a:latin typeface="+mn-lt"/>
                <a:cs typeface="Calibri"/>
              </a:rPr>
              <a:t> </a:t>
            </a: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040001"/>
              </a:solidFill>
              <a:effectLst/>
              <a:uLnTx/>
              <a:uFillTx/>
              <a:latin typeface="+mn-lt"/>
              <a:cs typeface="Calibri"/>
            </a:endParaRPr>
          </a:p>
          <a:p>
            <a:r>
              <a:rPr kumimoji="0" lang="nl-NL" sz="2400" b="0" i="0" u="none" strike="noStrike" kern="1200" cap="none" spc="0" normalizeH="0" baseline="0" noProof="0" dirty="0">
                <a:ln>
                  <a:noFill/>
                </a:ln>
                <a:solidFill>
                  <a:srgbClr val="040001"/>
                </a:solidFill>
                <a:effectLst/>
                <a:uLnTx/>
                <a:uFillTx/>
                <a:latin typeface="Avenir Next LT Pro" panose="020B0504020202020204" pitchFamily="34" charset="0"/>
                <a:cs typeface="Calibri"/>
              </a:rPr>
              <a:t>Psychosociale Autopsie </a:t>
            </a:r>
            <a:r>
              <a:rPr lang="nl-NL" sz="2400" dirty="0">
                <a:solidFill>
                  <a:srgbClr val="040001"/>
                </a:solidFill>
                <a:latin typeface="Avenir Next LT Pro" panose="020B0504020202020204" pitchFamily="34" charset="0"/>
                <a:cs typeface="Calibri"/>
              </a:rPr>
              <a:t>2024</a:t>
            </a:r>
            <a:endParaRPr lang="en-GB" sz="2400" dirty="0">
              <a:latin typeface="Avenir Next LT Pro" panose="020B0504020202020204" pitchFamily="34" charset="0"/>
            </a:endParaRPr>
          </a:p>
        </p:txBody>
      </p:sp>
      <p:sp>
        <p:nvSpPr>
          <p:cNvPr id="7" name="Pijl: links/rechts 6">
            <a:extLst>
              <a:ext uri="{FF2B5EF4-FFF2-40B4-BE49-F238E27FC236}">
                <a16:creationId xmlns:a16="http://schemas.microsoft.com/office/drawing/2014/main" id="{91100F8B-0E42-4A10-F8AB-36EE7C44C054}"/>
              </a:ext>
            </a:extLst>
          </p:cNvPr>
          <p:cNvSpPr/>
          <p:nvPr/>
        </p:nvSpPr>
        <p:spPr>
          <a:xfrm>
            <a:off x="4797511" y="3371848"/>
            <a:ext cx="1795849" cy="704335"/>
          </a:xfrm>
          <a:prstGeom prst="leftRightArrow">
            <a:avLst/>
          </a:prstGeom>
          <a:solidFill>
            <a:srgbClr val="FFC000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24489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ep 16">
            <a:extLst>
              <a:ext uri="{FF2B5EF4-FFF2-40B4-BE49-F238E27FC236}">
                <a16:creationId xmlns:a16="http://schemas.microsoft.com/office/drawing/2014/main" id="{9C3796DF-E819-CD27-55EB-D14E9BF58E64}"/>
              </a:ext>
            </a:extLst>
          </p:cNvPr>
          <p:cNvGrpSpPr/>
          <p:nvPr/>
        </p:nvGrpSpPr>
        <p:grpSpPr>
          <a:xfrm>
            <a:off x="305072" y="390525"/>
            <a:ext cx="11029950" cy="1190625"/>
            <a:chOff x="150362" y="5107805"/>
            <a:chExt cx="11976473" cy="1325563"/>
          </a:xfrm>
        </p:grpSpPr>
        <p:sp>
          <p:nvSpPr>
            <p:cNvPr id="19" name="Rechthoek: afgeronde hoeken 4">
              <a:extLst>
                <a:ext uri="{FF2B5EF4-FFF2-40B4-BE49-F238E27FC236}">
                  <a16:creationId xmlns:a16="http://schemas.microsoft.com/office/drawing/2014/main" id="{D7FA16D2-2DFF-A485-1F56-259C5D80C907}"/>
                </a:ext>
              </a:extLst>
            </p:cNvPr>
            <p:cNvSpPr/>
            <p:nvPr/>
          </p:nvSpPr>
          <p:spPr>
            <a:xfrm>
              <a:off x="150362" y="5107805"/>
              <a:ext cx="11976473" cy="1325563"/>
            </a:xfrm>
            <a:prstGeom prst="roundRect">
              <a:avLst>
                <a:gd name="adj" fmla="val 11523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l-NL"/>
            </a:p>
          </p:txBody>
        </p:sp>
        <p:sp>
          <p:nvSpPr>
            <p:cNvPr id="20" name="Titel 1">
              <a:extLst>
                <a:ext uri="{FF2B5EF4-FFF2-40B4-BE49-F238E27FC236}">
                  <a16:creationId xmlns:a16="http://schemas.microsoft.com/office/drawing/2014/main" id="{F941DBFA-F050-E0F0-BADE-4E3AB7EAEA6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29902" y="5487967"/>
              <a:ext cx="11178857" cy="9454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800" b="1" kern="1200">
                  <a:solidFill>
                    <a:schemeClr val="tx1"/>
                  </a:solidFill>
                  <a:latin typeface="+mj-lt"/>
                  <a:ea typeface="Verdana" panose="020B0604030504040204" pitchFamily="34" charset="0"/>
                  <a:cs typeface="Tahoma" panose="020B0604030504040204" pitchFamily="34" charset="0"/>
                </a:defRPr>
              </a:lvl1pPr>
              <a:lvl2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2pPr>
              <a:lvl3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3pPr>
              <a:lvl4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4pPr>
              <a:lvl5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5pPr>
              <a:lvl6pPr marL="457189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6pPr>
              <a:lvl7pPr marL="914377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7pPr>
              <a:lvl8pPr marL="1371566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8pPr>
              <a:lvl9pPr marL="1828754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9pPr>
            </a:lstStyle>
            <a:p>
              <a:pPr algn="ctr"/>
              <a:r>
                <a:rPr lang="nl-NL" b="1" dirty="0">
                  <a:latin typeface="Avenir Next LT Pro" panose="020B0504020202020204" pitchFamily="34" charset="0"/>
                </a:rPr>
                <a:t>Wat kun jij doen voor jongvolwassenen                                   die aan zelfdoding denken?</a:t>
              </a:r>
              <a:br>
                <a:rPr lang="nl-NL" b="1" dirty="0">
                  <a:latin typeface="Avenir Next LT Pro" panose="020B0504020202020204" pitchFamily="34" charset="0"/>
                </a:rPr>
              </a:br>
              <a:endParaRPr lang="nl-NL" b="0" dirty="0">
                <a:latin typeface="Avenir Next LT Pro" panose="020B0504020202020204" pitchFamily="34" charset="0"/>
              </a:endParaRPr>
            </a:p>
          </p:txBody>
        </p:sp>
      </p:grpSp>
      <p:pic>
        <p:nvPicPr>
          <p:cNvPr id="4" name="Afbeelding 3" descr="Afbeelding met kleding, persoon, tafel, meubels&#10;&#10;Automatisch gegenereerde beschrijving">
            <a:extLst>
              <a:ext uri="{FF2B5EF4-FFF2-40B4-BE49-F238E27FC236}">
                <a16:creationId xmlns:a16="http://schemas.microsoft.com/office/drawing/2014/main" id="{0C9DC71A-22F3-6194-F11C-B7C35C6CC33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436"/>
          <a:stretch/>
        </p:blipFill>
        <p:spPr>
          <a:xfrm>
            <a:off x="562247" y="1660885"/>
            <a:ext cx="10515600" cy="43513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725773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ijdelijke aanduiding voor inhoud 5">
            <a:extLst>
              <a:ext uri="{FF2B5EF4-FFF2-40B4-BE49-F238E27FC236}">
                <a16:creationId xmlns:a16="http://schemas.microsoft.com/office/drawing/2014/main" id="{30D08810-550F-4516-C528-2D6378BCF31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15569776"/>
              </p:ext>
            </p:extLst>
          </p:nvPr>
        </p:nvGraphicFramePr>
        <p:xfrm>
          <a:off x="2501082" y="2004162"/>
          <a:ext cx="7334745" cy="320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4745">
                  <a:extLst>
                    <a:ext uri="{9D8B030D-6E8A-4147-A177-3AD203B41FA5}">
                      <a16:colId xmlns:a16="http://schemas.microsoft.com/office/drawing/2014/main" val="28792297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nl-NL" sz="2400" dirty="0"/>
                        <a:t>Wat kun jij doen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17016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nl-NL" sz="2400"/>
                        <a:t>Meer </a:t>
                      </a:r>
                      <a:r>
                        <a:rPr lang="nl-NL" sz="2400" b="1"/>
                        <a:t>openheid en kennis </a:t>
                      </a:r>
                      <a:r>
                        <a:rPr lang="nl-NL" sz="2400"/>
                        <a:t>in bevolk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4971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nl-NL" sz="2400" b="1"/>
                        <a:t>Mentale gezondheid </a:t>
                      </a:r>
                      <a:r>
                        <a:rPr lang="nl-NL" sz="2400"/>
                        <a:t>vaste plek in </a:t>
                      </a:r>
                      <a:r>
                        <a:rPr lang="nl-NL" sz="2400" b="1"/>
                        <a:t>onderwij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37757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nl-NL" sz="2400"/>
                        <a:t>Betere </a:t>
                      </a:r>
                      <a:r>
                        <a:rPr lang="nl-NL" sz="2400" b="1"/>
                        <a:t>route naar hul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23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nl-NL" sz="2400" b="1"/>
                        <a:t>Minder drempels </a:t>
                      </a:r>
                      <a:r>
                        <a:rPr lang="nl-NL" sz="2400"/>
                        <a:t>tijdens hul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66453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nl-NL" sz="2400"/>
                        <a:t>Meer ondersteuning </a:t>
                      </a:r>
                      <a:r>
                        <a:rPr lang="nl-NL" sz="2400" b="1"/>
                        <a:t>ervaringsdeskundi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53598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nl-NL" sz="2400" b="1" dirty="0"/>
                        <a:t>Maatschappelijke stressoren </a:t>
                      </a:r>
                      <a:r>
                        <a:rPr lang="nl-NL" sz="2400" dirty="0"/>
                        <a:t>aanpakk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2967394"/>
                  </a:ext>
                </a:extLst>
              </a:tr>
            </a:tbl>
          </a:graphicData>
        </a:graphic>
      </p:graphicFrame>
      <p:grpSp>
        <p:nvGrpSpPr>
          <p:cNvPr id="5" name="Groep 4">
            <a:extLst>
              <a:ext uri="{FF2B5EF4-FFF2-40B4-BE49-F238E27FC236}">
                <a16:creationId xmlns:a16="http://schemas.microsoft.com/office/drawing/2014/main" id="{E991E98B-A8B7-1767-95A2-57A2FE517394}"/>
              </a:ext>
            </a:extLst>
          </p:cNvPr>
          <p:cNvGrpSpPr/>
          <p:nvPr/>
        </p:nvGrpSpPr>
        <p:grpSpPr>
          <a:xfrm>
            <a:off x="361951" y="526579"/>
            <a:ext cx="11239500" cy="817325"/>
            <a:chOff x="-186266" y="318591"/>
            <a:chExt cx="12615334" cy="817325"/>
          </a:xfrm>
        </p:grpSpPr>
        <p:sp>
          <p:nvSpPr>
            <p:cNvPr id="7" name="Rechthoek: afgeronde hoeken 4">
              <a:extLst>
                <a:ext uri="{FF2B5EF4-FFF2-40B4-BE49-F238E27FC236}">
                  <a16:creationId xmlns:a16="http://schemas.microsoft.com/office/drawing/2014/main" id="{9C7F97DE-F621-AA6C-9BC0-FC326AEBA3E0}"/>
                </a:ext>
              </a:extLst>
            </p:cNvPr>
            <p:cNvSpPr/>
            <p:nvPr/>
          </p:nvSpPr>
          <p:spPr>
            <a:xfrm>
              <a:off x="-186266" y="318591"/>
              <a:ext cx="12615334" cy="817325"/>
            </a:xfrm>
            <a:prstGeom prst="roundRect">
              <a:avLst>
                <a:gd name="adj" fmla="val 11523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l-NL"/>
            </a:p>
          </p:txBody>
        </p:sp>
        <p:sp>
          <p:nvSpPr>
            <p:cNvPr id="8" name="Titel 1">
              <a:extLst>
                <a:ext uri="{FF2B5EF4-FFF2-40B4-BE49-F238E27FC236}">
                  <a16:creationId xmlns:a16="http://schemas.microsoft.com/office/drawing/2014/main" id="{96D28852-9027-E9F1-76CF-74D1EDBA6BE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18982" y="341971"/>
              <a:ext cx="11710086" cy="770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800" b="1" kern="1200">
                  <a:solidFill>
                    <a:schemeClr val="tx1"/>
                  </a:solidFill>
                  <a:latin typeface="+mj-lt"/>
                  <a:ea typeface="Verdana" panose="020B0604030504040204" pitchFamily="34" charset="0"/>
                  <a:cs typeface="Tahoma" panose="020B0604030504040204" pitchFamily="34" charset="0"/>
                </a:defRPr>
              </a:lvl1pPr>
              <a:lvl2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2pPr>
              <a:lvl3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3pPr>
              <a:lvl4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4pPr>
              <a:lvl5pPr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5pPr>
              <a:lvl6pPr marL="457189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6pPr>
              <a:lvl7pPr marL="914377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7pPr>
              <a:lvl8pPr marL="1371566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8pPr>
              <a:lvl9pPr marL="1828754" algn="l" rtl="0" eaLnBrk="1" fontAlgn="base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600" b="1">
                  <a:solidFill>
                    <a:schemeClr val="tx1"/>
                  </a:solidFill>
                  <a:latin typeface="Arial Bold"/>
                  <a:ea typeface="Verdana" panose="020B0604030504040204" pitchFamily="34" charset="0"/>
                  <a:cs typeface="Tahoma" panose="020B0604030504040204" pitchFamily="34" charset="0"/>
                </a:defRPr>
              </a:lvl9pPr>
            </a:lstStyle>
            <a:p>
              <a:pPr algn="ctr"/>
              <a:r>
                <a:rPr lang="nl-NL" dirty="0">
                  <a:latin typeface="Avenir Next LT Pro" panose="020B0504020202020204" pitchFamily="34" charset="0"/>
                </a:rPr>
                <a:t>Aanbevelingen door jongvolwassenen                                    met suïcidale gedachten </a:t>
              </a:r>
              <a:endParaRPr lang="nl-NL" b="0" dirty="0">
                <a:latin typeface="Avenir Next LT Pro" panose="020B0504020202020204" pitchFamily="34" charset="0"/>
              </a:endParaRPr>
            </a:p>
          </p:txBody>
        </p:sp>
      </p:grpSp>
      <p:sp>
        <p:nvSpPr>
          <p:cNvPr id="9" name="Titel 8">
            <a:extLst>
              <a:ext uri="{FF2B5EF4-FFF2-40B4-BE49-F238E27FC236}">
                <a16:creationId xmlns:a16="http://schemas.microsoft.com/office/drawing/2014/main" id="{96B1B2E4-A664-88ED-3C19-803CF7FD38F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85851" y="5445757"/>
            <a:ext cx="105156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600" dirty="0">
                <a:solidFill>
                  <a:srgbClr val="040001"/>
                </a:solidFill>
                <a:latin typeface="+mn-lt"/>
                <a:cs typeface="Calibri"/>
              </a:rPr>
              <a:t> </a:t>
            </a:r>
            <a:endParaRPr kumimoji="0" lang="nl-NL" sz="1600" b="0" i="0" u="none" strike="noStrike" kern="1200" cap="none" spc="0" normalizeH="0" baseline="0" noProof="0" dirty="0">
              <a:ln>
                <a:noFill/>
              </a:ln>
              <a:solidFill>
                <a:srgbClr val="040001"/>
              </a:solidFill>
              <a:effectLst/>
              <a:uLnTx/>
              <a:uFillTx/>
              <a:latin typeface="+mn-lt"/>
              <a:cs typeface="Calibri"/>
            </a:endParaRPr>
          </a:p>
          <a:p>
            <a:r>
              <a:rPr lang="nl-NL" sz="2400" b="0" dirty="0">
                <a:solidFill>
                  <a:srgbClr val="040001"/>
                </a:solidFill>
                <a:latin typeface="Avenir Next LT Pro" panose="020B0504020202020204" pitchFamily="34" charset="0"/>
                <a:cs typeface="Calibri"/>
              </a:rPr>
              <a:t>Looijmans et al.,</a:t>
            </a:r>
            <a:r>
              <a:rPr kumimoji="0" lang="nl-NL" sz="2400" b="0" i="0" u="none" strike="noStrike" kern="1200" cap="none" spc="0" normalizeH="0" baseline="0" noProof="0" dirty="0">
                <a:ln>
                  <a:noFill/>
                </a:ln>
                <a:solidFill>
                  <a:srgbClr val="040001"/>
                </a:solidFill>
                <a:effectLst/>
                <a:uLnTx/>
                <a:uFillTx/>
                <a:latin typeface="Avenir Next LT Pro" panose="020B0504020202020204" pitchFamily="34" charset="0"/>
                <a:cs typeface="Calibri"/>
              </a:rPr>
              <a:t> </a:t>
            </a:r>
            <a:r>
              <a:rPr lang="nl-NL" sz="2400" b="0" dirty="0">
                <a:solidFill>
                  <a:srgbClr val="040001"/>
                </a:solidFill>
                <a:latin typeface="Avenir Next LT Pro" panose="020B0504020202020204" pitchFamily="34" charset="0"/>
                <a:cs typeface="Calibri"/>
              </a:rPr>
              <a:t>2024</a:t>
            </a:r>
            <a:endParaRPr lang="en-GB" sz="2400" b="0" dirty="0"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17606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id="{FB3E9E06-0DF5-E4F8-F181-B4A06AE7E991}"/>
              </a:ext>
            </a:extLst>
          </p:cNvPr>
          <p:cNvSpPr txBox="1"/>
          <p:nvPr/>
        </p:nvSpPr>
        <p:spPr>
          <a:xfrm rot="21019811">
            <a:off x="1099128" y="1967346"/>
            <a:ext cx="435956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000" dirty="0" err="1">
                <a:latin typeface="Another shabby" panose="02000503000000020003" pitchFamily="2" charset="0"/>
              </a:rPr>
              <a:t>Suïcidepreventie</a:t>
            </a:r>
            <a:r>
              <a:rPr lang="nl-NL" sz="4000" dirty="0">
                <a:latin typeface="Another shabby" panose="02000503000000020003" pitchFamily="2" charset="0"/>
              </a:rPr>
              <a:t>, </a:t>
            </a:r>
            <a:br>
              <a:rPr lang="nl-NL" sz="4000" dirty="0">
                <a:latin typeface="Another shabby" panose="02000503000000020003" pitchFamily="2" charset="0"/>
              </a:rPr>
            </a:br>
            <a:r>
              <a:rPr lang="nl-NL" sz="4000" dirty="0">
                <a:latin typeface="Another shabby" panose="02000503000000020003" pitchFamily="2" charset="0"/>
              </a:rPr>
              <a:t>doe je samen.</a:t>
            </a:r>
          </a:p>
        </p:txBody>
      </p:sp>
      <p:pic>
        <p:nvPicPr>
          <p:cNvPr id="9" name="Tijdelijke aanduiding voor afbeelding 8" descr="Afbeelding met Menselijk gezicht, tekst, glimlach, schermopname&#10;&#10;Automatisch gegenereerde beschrijving">
            <a:extLst>
              <a:ext uri="{FF2B5EF4-FFF2-40B4-BE49-F238E27FC236}">
                <a16:creationId xmlns:a16="http://schemas.microsoft.com/office/drawing/2014/main" id="{9C2CB43B-0305-AD3E-229B-EC20C5545E6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1" r="95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8937323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Aangepast 9">
      <a:dk1>
        <a:srgbClr val="000000"/>
      </a:dk1>
      <a:lt1>
        <a:srgbClr val="FFFFFF"/>
      </a:lt1>
      <a:dk2>
        <a:srgbClr val="D61E29"/>
      </a:dk2>
      <a:lt2>
        <a:srgbClr val="F6E198"/>
      </a:lt2>
      <a:accent1>
        <a:srgbClr val="2BA378"/>
      </a:accent1>
      <a:accent2>
        <a:srgbClr val="D61E29"/>
      </a:accent2>
      <a:accent3>
        <a:srgbClr val="F6E198"/>
      </a:accent3>
      <a:accent4>
        <a:srgbClr val="FBD5C8"/>
      </a:accent4>
      <a:accent5>
        <a:srgbClr val="D9E7E3"/>
      </a:accent5>
      <a:accent6>
        <a:srgbClr val="328BA8"/>
      </a:accent6>
      <a:hlink>
        <a:srgbClr val="D61E29"/>
      </a:hlink>
      <a:folHlink>
        <a:srgbClr val="2BA378"/>
      </a:folHlink>
    </a:clrScheme>
    <a:fontScheme name="113">
      <a:majorFont>
        <a:latin typeface="Arial Bold"/>
        <a:ea typeface="Helvetica"/>
        <a:cs typeface="Avenir Next regular"/>
      </a:majorFont>
      <a:minorFont>
        <a:latin typeface="Arial"/>
        <a:ea typeface="Helvetica"/>
        <a:cs typeface="Avenir Next regular"/>
      </a:minorFont>
    </a:fontScheme>
    <a:fmtScheme name="Schaduw bovenaan">
      <a:fillStyleLst>
        <a:solidFill>
          <a:schemeClr val="phClr"/>
        </a:solidFill>
        <a:gradFill rotWithShape="1">
          <a:gsLst>
            <a:gs pos="0">
              <a:schemeClr val="phClr">
                <a:tint val="10000"/>
                <a:satMod val="300000"/>
              </a:schemeClr>
            </a:gs>
            <a:gs pos="34000">
              <a:schemeClr val="phClr">
                <a:tint val="13500"/>
                <a:satMod val="250000"/>
              </a:schemeClr>
            </a:gs>
            <a:gs pos="100000">
              <a:schemeClr val="phClr">
                <a:tint val="60000"/>
                <a:satMod val="200000"/>
              </a:schemeClr>
            </a:gs>
          </a:gsLst>
          <a:path path="circle">
            <a:fillToRect l="50000" t="155000" r="50000" b="-55000"/>
          </a:path>
        </a:gradFill>
        <a:gradFill rotWithShape="1">
          <a:gsLst>
            <a:gs pos="0">
              <a:schemeClr val="phClr">
                <a:tint val="60000"/>
                <a:satMod val="160000"/>
              </a:schemeClr>
            </a:gs>
            <a:gs pos="46000">
              <a:schemeClr val="phClr">
                <a:tint val="86000"/>
                <a:satMod val="160000"/>
              </a:schemeClr>
            </a:gs>
            <a:gs pos="100000">
              <a:schemeClr val="phClr">
                <a:shade val="40000"/>
                <a:satMod val="160000"/>
              </a:schemeClr>
            </a:gs>
          </a:gsLst>
          <a:path path="circle">
            <a:fillToRect l="50000" t="155000" r="50000" b="-55000"/>
          </a:path>
        </a:gradFill>
      </a:fillStyleLst>
      <a:lnStyleLst>
        <a:ln w="9525" cap="flat" cmpd="sng" algn="ctr">
          <a:solidFill>
            <a:schemeClr val="phClr">
              <a:satMod val="12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147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38100" dir="14700000" algn="t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53975" dist="41275" dir="14700000" algn="t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3600000"/>
            </a:lightRig>
          </a:scene3d>
          <a:sp3d prstMaterial="plastic">
            <a:bevelT w="127000" h="38200" prst="relaxedInse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113 PPT Algemeen2" id="{6A9DD883-1BF5-47C0-9819-8C839C7CF99F}" vid="{3F13A3E7-A1C5-4010-96C7-C42936D18E14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64f89e6-ebf3-457f-aca4-d619505c7fdb">
      <Terms xmlns="http://schemas.microsoft.com/office/infopath/2007/PartnerControls"/>
    </lcf76f155ced4ddcb4097134ff3c332f>
    <TaxCatchAll xmlns="ac7c887c-85c9-4820-92f6-2d0628fae0a7" xsi:nil="true"/>
    <SharedWithUsers xmlns="ac7c887c-85c9-4820-92f6-2d0628fae0a7">
      <UserInfo>
        <DisplayName/>
        <AccountId xsi:nil="true"/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94A15B661009E42B3D8DCC5864DC25A" ma:contentTypeVersion="18" ma:contentTypeDescription="Een nieuw document maken." ma:contentTypeScope="" ma:versionID="d0ed5831a4adc1985f5aefdeebfa1579">
  <xsd:schema xmlns:xsd="http://www.w3.org/2001/XMLSchema" xmlns:xs="http://www.w3.org/2001/XMLSchema" xmlns:p="http://schemas.microsoft.com/office/2006/metadata/properties" xmlns:ns2="a64f89e6-ebf3-457f-aca4-d619505c7fdb" xmlns:ns3="ac7c887c-85c9-4820-92f6-2d0628fae0a7" targetNamespace="http://schemas.microsoft.com/office/2006/metadata/properties" ma:root="true" ma:fieldsID="bb190da6b8634b7f6e2008f1d6a65002" ns2:_="" ns3:_="">
    <xsd:import namespace="a64f89e6-ebf3-457f-aca4-d619505c7fdb"/>
    <xsd:import namespace="ac7c887c-85c9-4820-92f6-2d0628fae0a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4f89e6-ebf3-457f-aca4-d619505c7fd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Afbeeldingtags" ma:readOnly="false" ma:fieldId="{5cf76f15-5ced-4ddc-b409-7134ff3c332f}" ma:taxonomyMulti="true" ma:sspId="06c0c415-c298-4106-bb5c-a69b546bee9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7c887c-85c9-4820-92f6-2d0628fae0a7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0ea10dd7-c4d6-487a-8cfd-843c92591a30}" ma:internalName="TaxCatchAll" ma:showField="CatchAllData" ma:web="ac7c887c-85c9-4820-92f6-2d0628fae0a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EBFC094-9ECC-4AE7-B692-C879681DBA3F}">
  <ds:schemaRefs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purl.org/dc/elements/1.1/"/>
    <ds:schemaRef ds:uri="ac7c887c-85c9-4820-92f6-2d0628fae0a7"/>
    <ds:schemaRef ds:uri="a64f89e6-ebf3-457f-aca4-d619505c7fdb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61D260D-0EA7-409F-9AB2-2952D5B6011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9FE0AB2-469A-413F-821A-1AB5161521BA}">
  <ds:schemaRefs>
    <ds:schemaRef ds:uri="a64f89e6-ebf3-457f-aca4-d619505c7fdb"/>
    <ds:schemaRef ds:uri="ac7c887c-85c9-4820-92f6-2d0628fae0a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13 PPT Algemeen</Template>
  <TotalTime>207</TotalTime>
  <Words>298</Words>
  <Application>Microsoft Office PowerPoint</Application>
  <PresentationFormat>Breedbeeld</PresentationFormat>
  <Paragraphs>67</Paragraphs>
  <Slides>9</Slides>
  <Notes>4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7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9</vt:i4>
      </vt:variant>
    </vt:vector>
  </HeadingPairs>
  <TitlesOfParts>
    <vt:vector size="18" baseType="lpstr">
      <vt:lpstr>Another shabby</vt:lpstr>
      <vt:lpstr>Arial</vt:lpstr>
      <vt:lpstr>Arial Bold</vt:lpstr>
      <vt:lpstr>Avenir Next LT Pro</vt:lpstr>
      <vt:lpstr>Avenir Next LT Pro Demi</vt:lpstr>
      <vt:lpstr>Calibri</vt:lpstr>
      <vt:lpstr>Corbel</vt:lpstr>
      <vt:lpstr>Kantoorthema</vt:lpstr>
      <vt:lpstr>think-cell Slide</vt:lpstr>
      <vt:lpstr>PowerPoint-presentatie</vt:lpstr>
      <vt:lpstr>PowerPoint-presentatie</vt:lpstr>
      <vt:lpstr>PowerPoint-presentatie</vt:lpstr>
      <vt:lpstr>PowerPoint-presentatie</vt:lpstr>
      <vt:lpstr>De overgang van puberteit naar volwassenheid is uitdagend  </vt:lpstr>
      <vt:lpstr>PowerPoint-presentatie</vt:lpstr>
      <vt:lpstr>PowerPoint-presentatie</vt:lpstr>
      <vt:lpstr>  Looijmans et al., 2024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Nikki van Eijk (zij/haar)</dc:creator>
  <cp:lastModifiedBy>Anoek Braam</cp:lastModifiedBy>
  <cp:revision>3</cp:revision>
  <dcterms:created xsi:type="dcterms:W3CDTF">2024-08-09T13:34:56Z</dcterms:created>
  <dcterms:modified xsi:type="dcterms:W3CDTF">2024-09-05T13:1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94A15B661009E42B3D8DCC5864DC25A</vt:lpwstr>
  </property>
  <property fmtid="{D5CDD505-2E9C-101B-9397-08002B2CF9AE}" pid="3" name="_dlc_DocIdItemGuid">
    <vt:lpwstr>7271fc02-9c40-4dfb-a5e6-278fd6de1711</vt:lpwstr>
  </property>
  <property fmtid="{D5CDD505-2E9C-101B-9397-08002B2CF9AE}" pid="4" name="MediaServiceImageTags">
    <vt:lpwstr/>
  </property>
  <property fmtid="{D5CDD505-2E9C-101B-9397-08002B2CF9AE}" pid="5" name="Order">
    <vt:r8>26200</vt:r8>
  </property>
  <property fmtid="{D5CDD505-2E9C-101B-9397-08002B2CF9AE}" pid="6" name="_SourceUrl">
    <vt:lpwstr/>
  </property>
  <property fmtid="{D5CDD505-2E9C-101B-9397-08002B2CF9AE}" pid="7" name="_SharedFileIndex">
    <vt:lpwstr/>
  </property>
  <property fmtid="{D5CDD505-2E9C-101B-9397-08002B2CF9AE}" pid="8" name="ComplianceAssetId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</Properties>
</file>